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0"/>
  </p:notesMasterIdLst>
  <p:sldIdLst>
    <p:sldId id="10324" r:id="rId5"/>
    <p:sldId id="2145706963" r:id="rId6"/>
    <p:sldId id="10493" r:id="rId7"/>
    <p:sldId id="2145706951" r:id="rId8"/>
    <p:sldId id="2145706952" r:id="rId9"/>
    <p:sldId id="10522" r:id="rId10"/>
    <p:sldId id="2145706953" r:id="rId11"/>
    <p:sldId id="2145706954" r:id="rId12"/>
    <p:sldId id="2145706955" r:id="rId13"/>
    <p:sldId id="2145706956" r:id="rId14"/>
    <p:sldId id="2145706957" r:id="rId15"/>
    <p:sldId id="2145706949" r:id="rId16"/>
    <p:sldId id="2145706964" r:id="rId17"/>
    <p:sldId id="2145706962" r:id="rId18"/>
    <p:sldId id="2145706961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6AA0D0C-44DF-21F2-1FD9-978CEE3E8D2A}" name="Monika R. Athwal" initials="MA" userId="S::mathwal@njeda.com::7971907c-7a58-4ece-b142-9fbd54fe469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97C"/>
    <a:srgbClr val="84B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372F4D-3682-40C3-8B55-772DE994ED95}" type="datetimeFigureOut">
              <a:rPr lang="en-US" smtClean="0"/>
              <a:t>10/1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2B62F9-1EB2-475A-B0A8-375792D5C1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7264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8902E5-E0B2-4B7E-AB45-8D3944E1063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3537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2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ou’ll see here our great team.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2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 on the right are all of our department’s programs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200">
                <a:effectLst/>
                <a:latin typeface="Calibri"/>
                <a:ea typeface="Calibri" panose="020F0502020204030204" pitchFamily="34" charset="0"/>
                <a:cs typeface="Calibri"/>
              </a:rPr>
              <a:t>We’ll be running </a:t>
            </a:r>
            <a:r>
              <a:rPr lang="en-US">
                <a:latin typeface="Calibri"/>
                <a:ea typeface="Calibri" panose="020F0502020204030204" pitchFamily="34" charset="0"/>
                <a:cs typeface="Calibri"/>
              </a:rPr>
              <a:t>through some </a:t>
            </a:r>
            <a:r>
              <a:rPr lang="en-US" sz="1200">
                <a:effectLst/>
                <a:latin typeface="Calibri"/>
                <a:ea typeface="Calibri" panose="020F0502020204030204" pitchFamily="34" charset="0"/>
                <a:cs typeface="Calibri"/>
              </a:rPr>
              <a:t>but not</a:t>
            </a:r>
            <a:r>
              <a:rPr lang="en-US">
                <a:latin typeface="Calibri"/>
                <a:ea typeface="Calibri" panose="020F0502020204030204" pitchFamily="34" charset="0"/>
                <a:cs typeface="Calibri"/>
              </a:rPr>
              <a:t> </a:t>
            </a:r>
            <a:r>
              <a:rPr lang="en-US" sz="1200">
                <a:effectLst/>
                <a:latin typeface="Calibri"/>
                <a:ea typeface="Calibri" panose="020F0502020204030204" pitchFamily="34" charset="0"/>
                <a:cs typeface="Calibri"/>
              </a:rPr>
              <a:t>all of these. As not all are as applicable and there’s just not enough time to cover everything.</a:t>
            </a:r>
            <a:r>
              <a:rPr lang="en-US">
                <a:latin typeface="Calibri"/>
                <a:ea typeface="Calibri" panose="020F0502020204030204" pitchFamily="34" charset="0"/>
                <a:cs typeface="Calibri"/>
              </a:rPr>
              <a:t> </a:t>
            </a:r>
            <a:endParaRPr lang="en-US" sz="1200">
              <a:effectLst/>
              <a:latin typeface="Calibri"/>
              <a:ea typeface="Calibri" panose="020F0502020204030204" pitchFamily="34" charset="0"/>
              <a:cs typeface="Calibri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2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t if you would like to learn more, each one has its own website and we’re happy to cover them with you individually.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2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first program I touch on is the angel investor tax credit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DB69E1-BC6A-4E1F-9D59-58B11B9DFA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9998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32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4DCF69-DDD2-4864-968D-9A716FA9297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32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2240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E789F5-0BA5-4584-8764-51CA663444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15222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2B62F9-1EB2-475A-B0A8-375792D5C16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70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85B822-B3E3-3E48-B98A-FA267CA82B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78C6D0-9CE3-74AA-04ED-5946F672FA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63A1FA-847C-2C2E-7E34-0B80CC61CC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34CEB-D63B-4624-9A13-9F51A5BA27CF}" type="datetimeFigureOut">
              <a:rPr lang="en-US" smtClean="0"/>
              <a:t>10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8CCA48-EF9C-D009-B888-02582D8AE3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8F2E61-1692-D5E0-4F77-7C2D935341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D4666-04A4-44EB-8C11-E3F3590F44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4534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F47CF6-8321-9D8E-E517-C19F488E95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0AD98E6-FCC9-8FE7-EF2A-917E4CBF87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8EC1CD-081F-DAA3-BEE5-05EE0AFE5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34CEB-D63B-4624-9A13-9F51A5BA27CF}" type="datetimeFigureOut">
              <a:rPr lang="en-US" smtClean="0"/>
              <a:t>10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24F788-B2E5-064A-4303-1B1F1BA6E1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22A05A-17B2-5A79-8B8B-4CEC1AD01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D4666-04A4-44EB-8C11-E3F3590F44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036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E159232-C1F6-311C-6AA1-1C849FA7047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A938564-04C1-D10C-3C76-F99E18C57E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03891B-25A9-2539-351D-EF8889354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34CEB-D63B-4624-9A13-9F51A5BA27CF}" type="datetimeFigureOut">
              <a:rPr lang="en-US" smtClean="0"/>
              <a:t>10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0340C0-277F-F431-E15E-1B109DDFFD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9F06FA-FF94-3916-C557-3BFF633E11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D4666-04A4-44EB-8C11-E3F3590F44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5269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ck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508BDA9-2CC5-4441-9CB2-F421A72E49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508BDA9-2CC5-4441-9CB2-F421A72E49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60C9AF-AEE9-44CC-BA6A-A3C6CF5AFD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41" b="1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EB380B-917C-45EF-BD98-A4E18484D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030" y="329440"/>
            <a:ext cx="11725484" cy="31402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0B26E0-891E-4B4A-AE1A-C18AEFD16AB1}"/>
              </a:ext>
            </a:extLst>
          </p:cNvPr>
          <p:cNvSpPr/>
          <p:nvPr userDrawn="1"/>
        </p:nvSpPr>
        <p:spPr>
          <a:xfrm>
            <a:off x="155498" y="54423"/>
            <a:ext cx="3078856" cy="1788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>
              <a:solidFill>
                <a:schemeClr val="tx1"/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5CE317E-DE7E-4FE2-8C7D-03C5CFDBDD76}"/>
              </a:ext>
            </a:extLst>
          </p:cNvPr>
          <p:cNvCxnSpPr>
            <a:cxnSpLocks/>
          </p:cNvCxnSpPr>
          <p:nvPr userDrawn="1"/>
        </p:nvCxnSpPr>
        <p:spPr>
          <a:xfrm>
            <a:off x="155498" y="6530812"/>
            <a:ext cx="964086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06B1CE4F-DB9D-4540-BD41-F2FAA92DBF7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4757" y="6272715"/>
            <a:ext cx="1234613" cy="413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8086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693339-3628-39C4-FE9C-BEC94D3F5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938495-57D7-E907-23E7-4840ED4752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E4590-5FC8-AF2C-39B7-F2E14855B6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34CEB-D63B-4624-9A13-9F51A5BA27CF}" type="datetimeFigureOut">
              <a:rPr lang="en-US" smtClean="0"/>
              <a:t>10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A0C60D-362A-5114-75AF-BF66831CF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33B379-B531-A8F3-9EB0-C38360DCBD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D4666-04A4-44EB-8C11-E3F3590F44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8095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8D5BD-F039-FBFD-D91F-93B4690D1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889E95-7328-787B-226E-EBCBCB70E1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B17B71-D4C8-6E22-A298-9499EDB4B9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34CEB-D63B-4624-9A13-9F51A5BA27CF}" type="datetimeFigureOut">
              <a:rPr lang="en-US" smtClean="0"/>
              <a:t>10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EBEDE4-277C-5190-8BC8-79A73E8E1B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E3E258-01CC-B387-E04F-CF3B7C1000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D4666-04A4-44EB-8C11-E3F3590F44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2365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1CA520-A34D-DC0A-F3DF-70A484430C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17D348-AA8C-6EBB-9E38-CAB3D01F98F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51C09D-D711-C8D8-3A23-03F5DB1CE7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543711-6853-5BAE-06DC-EABE4939B4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34CEB-D63B-4624-9A13-9F51A5BA27CF}" type="datetimeFigureOut">
              <a:rPr lang="en-US" smtClean="0"/>
              <a:t>10/1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AD5BB3-84E0-28F6-3B32-60CF99FF79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796C60-70C2-2893-D2E4-1CDF4A523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D4666-04A4-44EB-8C11-E3F3590F44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5201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31EDF9-6693-ADF5-4DC7-ACB2151196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3E91B7-4CFE-A5BA-CF4D-44EB662625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C8BD6A-26E6-CD0B-C3A8-E69AB0D70A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CEC9B2-E1F3-B271-FD7C-62714ACB332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67ECD54-CA0D-7930-C4B4-5FCCC087E5E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C1C9A83-85B9-6B9D-0E39-3B4385F37F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34CEB-D63B-4624-9A13-9F51A5BA27CF}" type="datetimeFigureOut">
              <a:rPr lang="en-US" smtClean="0"/>
              <a:t>10/1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C02F5C7-5F12-D538-B6F1-989C941237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ABD30E7-DFCD-2640-1ED5-A0D167AB5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D4666-04A4-44EB-8C11-E3F3590F44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0568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863CBA-A8EB-41ED-76D1-689E15B54A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3E5D33-18F1-9B9E-67FF-C3D1E3CC27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34CEB-D63B-4624-9A13-9F51A5BA27CF}" type="datetimeFigureOut">
              <a:rPr lang="en-US" smtClean="0"/>
              <a:t>10/1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B80E0A-306C-E016-1A09-EBFC41A068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DA7E3D-21A0-48F2-16AC-0D92FB87DB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D4666-04A4-44EB-8C11-E3F3590F44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4189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0B9BB49-3C51-8A97-15E0-6D275CAA64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34CEB-D63B-4624-9A13-9F51A5BA27CF}" type="datetimeFigureOut">
              <a:rPr lang="en-US" smtClean="0"/>
              <a:t>10/1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D4677C-E1DE-70E4-4DF9-DF6539666F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E54259-7674-E29E-9384-3E21D6A8A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D4666-04A4-44EB-8C11-E3F3590F44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65797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7BC6C7-CC2C-EA6F-FAD8-98263E1354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755382-5C57-0E35-AD64-D8F99EAC68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020EE37-1E6B-A3CF-D702-FC0494EA3B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D93D89-692A-A73E-4FC6-E49AFBA6B9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34CEB-D63B-4624-9A13-9F51A5BA27CF}" type="datetimeFigureOut">
              <a:rPr lang="en-US" smtClean="0"/>
              <a:t>10/1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974A2A-2EB2-F723-EC0B-8E14B91618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468ECC-1C28-C1B7-F161-5C67C0EB65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D4666-04A4-44EB-8C11-E3F3590F44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692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4D3C72-45D8-70E8-F872-BFA5171A1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68E4A09-93F9-7E09-607F-E4467ECC2C4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C31974-4AC3-BA45-7821-A24142AFA4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D30B75-5B9C-EE16-F728-C91131CE8E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34CEB-D63B-4624-9A13-9F51A5BA27CF}" type="datetimeFigureOut">
              <a:rPr lang="en-US" smtClean="0"/>
              <a:t>10/1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6FC90C-DF71-F08F-5901-5D946539E2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12163A-D49D-60DD-D512-8B1DADDA7E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D4666-04A4-44EB-8C11-E3F3590F44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9739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DD10D7-175C-1A5E-BF64-109B386306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2F4DB0-0F32-1E7C-4767-0C6E4F7D2B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80200D-8F0A-8758-0E9D-7C450EA5BE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234CEB-D63B-4624-9A13-9F51A5BA27CF}" type="datetimeFigureOut">
              <a:rPr lang="en-US" smtClean="0"/>
              <a:t>10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54A1F0-FF31-6E0E-46D2-452B97B11B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D31E73-9A7F-3763-9424-6355B34405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8D4666-04A4-44EB-8C11-E3F3590F44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901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jeda.gov/njesp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6.png"/><Relationship Id="rId4" Type="http://schemas.openxmlformats.org/officeDocument/2006/relationships/hyperlink" Target="mailto:Jsheft@njcsit.gov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1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hyperlink" Target="http://www.njeda.gov/innovation-office-hours/" TargetMode="External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microsoft.com/office/2007/relationships/hdphoto" Target="../media/hdphoto3.wdp"/><Relationship Id="rId3" Type="http://schemas.openxmlformats.org/officeDocument/2006/relationships/image" Target="../media/image10.png"/><Relationship Id="rId7" Type="http://schemas.openxmlformats.org/officeDocument/2006/relationships/image" Target="../media/image15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hyperlink" Target="mailto:Jsheft@njcsit.gov" TargetMode="External"/><Relationship Id="rId11" Type="http://schemas.microsoft.com/office/2007/relationships/hdphoto" Target="../media/hdphoto2.wdp"/><Relationship Id="rId5" Type="http://schemas.openxmlformats.org/officeDocument/2006/relationships/hyperlink" Target="mailto:Monika.Athwal@njeda.gov" TargetMode="External"/><Relationship Id="rId10" Type="http://schemas.openxmlformats.org/officeDocument/2006/relationships/image" Target="../media/image17.png"/><Relationship Id="rId4" Type="http://schemas.openxmlformats.org/officeDocument/2006/relationships/image" Target="../media/image11.svg"/><Relationship Id="rId9" Type="http://schemas.microsoft.com/office/2007/relationships/hdphoto" Target="../media/hdphoto1.wdp"/><Relationship Id="rId1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jeda.gov/angeltaxcredit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jeda.gov/nol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jeda.gov/angeltaxcredit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1633646" y="853687"/>
            <a:ext cx="9720153" cy="5231409"/>
            <a:chOff x="0" y="0"/>
            <a:chExt cx="6186311" cy="3539274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6186311" cy="3539274"/>
            </a:xfrm>
            <a:custGeom>
              <a:avLst/>
              <a:gdLst/>
              <a:ahLst/>
              <a:cxnLst/>
              <a:rect l="l" t="t" r="r" b="b"/>
              <a:pathLst>
                <a:path w="6186311" h="3539274">
                  <a:moveTo>
                    <a:pt x="0" y="0"/>
                  </a:moveTo>
                  <a:lnTo>
                    <a:pt x="6186311" y="0"/>
                  </a:lnTo>
                  <a:lnTo>
                    <a:pt x="6186311" y="3539274"/>
                  </a:lnTo>
                  <a:lnTo>
                    <a:pt x="0" y="3539274"/>
                  </a:lnTo>
                  <a:close/>
                </a:path>
              </a:pathLst>
            </a:custGeom>
            <a:solidFill>
              <a:srgbClr val="00597C"/>
            </a:solidFill>
          </p:spPr>
          <p:txBody>
            <a:bodyPr/>
            <a:lstStyle/>
            <a:p>
              <a:endParaRPr lang="en-US">
                <a:ea typeface="Cambria" panose="02040503050406030204" pitchFamily="18" charset="0"/>
              </a:endParaRPr>
            </a:p>
          </p:txBody>
        </p:sp>
      </p:grpSp>
      <p:sp>
        <p:nvSpPr>
          <p:cNvPr id="4" name="AutoShape 4"/>
          <p:cNvSpPr/>
          <p:nvPr/>
        </p:nvSpPr>
        <p:spPr>
          <a:xfrm rot="-4227458">
            <a:off x="100971" y="1095215"/>
            <a:ext cx="6584701" cy="1356631"/>
          </a:xfrm>
          <a:prstGeom prst="rect">
            <a:avLst/>
          </a:prstGeom>
          <a:solidFill>
            <a:srgbClr val="0078AE"/>
          </a:solidFill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-184964" y="-762265"/>
            <a:ext cx="3852432" cy="8093706"/>
            <a:chOff x="0" y="0"/>
            <a:chExt cx="10273152" cy="21583216"/>
          </a:xfrm>
        </p:grpSpPr>
        <p:sp>
          <p:nvSpPr>
            <p:cNvPr id="6" name="AutoShape 6"/>
            <p:cNvSpPr/>
            <p:nvPr/>
          </p:nvSpPr>
          <p:spPr>
            <a:xfrm rot="-6233333">
              <a:off x="-2962516" y="10620281"/>
              <a:ext cx="15870831" cy="5257133"/>
            </a:xfrm>
            <a:prstGeom prst="rect">
              <a:avLst/>
            </a:prstGeom>
            <a:solidFill>
              <a:srgbClr val="FAFEFF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7" name="AutoShape 7"/>
            <p:cNvSpPr/>
            <p:nvPr/>
          </p:nvSpPr>
          <p:spPr>
            <a:xfrm rot="-4110353">
              <a:off x="-2754669" y="5813593"/>
              <a:ext cx="15782491" cy="4825983"/>
            </a:xfrm>
            <a:prstGeom prst="rect">
              <a:avLst/>
            </a:prstGeom>
            <a:solidFill>
              <a:srgbClr val="84BD00"/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4138384" y="1991684"/>
            <a:ext cx="6046670" cy="2962542"/>
            <a:chOff x="0" y="0"/>
            <a:chExt cx="13425168" cy="6577607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13425168" cy="6577607"/>
            </a:xfrm>
            <a:custGeom>
              <a:avLst/>
              <a:gdLst/>
              <a:ahLst/>
              <a:cxnLst/>
              <a:rect l="l" t="t" r="r" b="b"/>
              <a:pathLst>
                <a:path w="13425168" h="6577607">
                  <a:moveTo>
                    <a:pt x="0" y="0"/>
                  </a:moveTo>
                  <a:lnTo>
                    <a:pt x="0" y="6577607"/>
                  </a:lnTo>
                  <a:lnTo>
                    <a:pt x="13425168" y="6577607"/>
                  </a:lnTo>
                  <a:lnTo>
                    <a:pt x="13425168" y="0"/>
                  </a:lnTo>
                  <a:lnTo>
                    <a:pt x="0" y="0"/>
                  </a:lnTo>
                  <a:close/>
                  <a:moveTo>
                    <a:pt x="13364208" y="6516647"/>
                  </a:moveTo>
                  <a:lnTo>
                    <a:pt x="59690" y="6516647"/>
                  </a:lnTo>
                  <a:lnTo>
                    <a:pt x="59690" y="59690"/>
                  </a:lnTo>
                  <a:lnTo>
                    <a:pt x="13364208" y="59690"/>
                  </a:lnTo>
                  <a:lnTo>
                    <a:pt x="13364208" y="6516647"/>
                  </a:lnTo>
                  <a:close/>
                </a:path>
              </a:pathLst>
            </a:custGeom>
            <a:solidFill>
              <a:srgbClr val="FAFEFF"/>
            </a:solid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3513458-0BB8-46DB-8555-F2FEFC445327}"/>
              </a:ext>
            </a:extLst>
          </p:cNvPr>
          <p:cNvSpPr txBox="1"/>
          <p:nvPr/>
        </p:nvSpPr>
        <p:spPr>
          <a:xfrm>
            <a:off x="4251960" y="2636392"/>
            <a:ext cx="5933094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3200" b="1">
                <a:solidFill>
                  <a:schemeClr val="bg1"/>
                </a:solidFill>
                <a:ea typeface="Cambria"/>
                <a:cs typeface="Segoe UI Semibold"/>
              </a:rPr>
              <a:t>Technology Innovation</a:t>
            </a:r>
          </a:p>
          <a:p>
            <a:pPr algn="ctr"/>
            <a:r>
              <a:rPr lang="en-US" sz="3200">
                <a:solidFill>
                  <a:schemeClr val="bg1"/>
                </a:solidFill>
                <a:ea typeface="Cambria"/>
                <a:cs typeface="Segoe UI Semibold"/>
              </a:rPr>
              <a:t>In-Person</a:t>
            </a:r>
            <a:endParaRPr lang="en-US">
              <a:solidFill>
                <a:schemeClr val="bg1"/>
              </a:solidFill>
            </a:endParaRPr>
          </a:p>
          <a:p>
            <a:pPr algn="ctr"/>
            <a:r>
              <a:rPr lang="en-US" sz="3200">
                <a:solidFill>
                  <a:schemeClr val="bg1"/>
                </a:solidFill>
                <a:ea typeface="Cambria"/>
                <a:cs typeface="Segoe UI Semibold"/>
              </a:rPr>
              <a:t>September 2024 Office Hours </a:t>
            </a:r>
            <a:endParaRPr lang="en-US">
              <a:solidFill>
                <a:schemeClr val="bg1"/>
              </a:solidFill>
              <a:ea typeface="Cambria"/>
              <a:cs typeface="Segoe UI Semibold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A51C4E3-5575-476B-B825-E4FFD67FBD60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9634" y="5337340"/>
            <a:ext cx="1272540" cy="486342"/>
          </a:xfrm>
          <a:prstGeom prst="rect">
            <a:avLst/>
          </a:prstGeom>
        </p:spPr>
      </p:pic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54A9C4-83D0-46D0-AB8F-D964AAA89E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46FBDF-2D50-CCC1-B01E-AC81E366E2B5}"/>
              </a:ext>
            </a:extLst>
          </p:cNvPr>
          <p:cNvSpPr txBox="1">
            <a:spLocks/>
          </p:cNvSpPr>
          <p:nvPr/>
        </p:nvSpPr>
        <p:spPr>
          <a:xfrm>
            <a:off x="410697" y="441777"/>
            <a:ext cx="4031652" cy="610884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597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JEDA Impact</a:t>
            </a:r>
            <a:endParaRPr lang="en-US" sz="2800" dirty="0">
              <a:solidFill>
                <a:srgbClr val="00597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7E29DFD-D4C0-F461-438A-C559C7E14629}"/>
              </a:ext>
            </a:extLst>
          </p:cNvPr>
          <p:cNvCxnSpPr>
            <a:cxnSpLocks/>
          </p:cNvCxnSpPr>
          <p:nvPr/>
        </p:nvCxnSpPr>
        <p:spPr>
          <a:xfrm>
            <a:off x="410697" y="965723"/>
            <a:ext cx="11245346" cy="0"/>
          </a:xfrm>
          <a:prstGeom prst="line">
            <a:avLst/>
          </a:prstGeom>
          <a:ln w="19050">
            <a:solidFill>
              <a:srgbClr val="84BE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9E3703A-B7CC-D557-2A71-C7CCCA263B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1252" t="6327" r="566" b="6700"/>
          <a:stretch/>
        </p:blipFill>
        <p:spPr>
          <a:xfrm>
            <a:off x="6390135" y="2053710"/>
            <a:ext cx="5417821" cy="2750579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47655B5-52AD-C810-0FC5-6D548AA1C6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58404" y="5492387"/>
            <a:ext cx="1648911" cy="109927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C98081E-CA30-C9B4-D9D9-FF8A89608E8E}"/>
              </a:ext>
            </a:extLst>
          </p:cNvPr>
          <p:cNvSpPr/>
          <p:nvPr/>
        </p:nvSpPr>
        <p:spPr>
          <a:xfrm>
            <a:off x="301229" y="1760478"/>
            <a:ext cx="5629552" cy="3438223"/>
          </a:xfrm>
          <a:prstGeom prst="rect">
            <a:avLst/>
          </a:prstGeom>
          <a:solidFill>
            <a:schemeClr val="bg1"/>
          </a:solidFill>
          <a:ln>
            <a:solidFill>
              <a:srgbClr val="0059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880">
              <a:solidFill>
                <a:srgbClr val="00597C"/>
              </a:solidFill>
              <a:latin typeface="Calibri" panose="020F050202020403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AD75AB3-E6D3-1AE1-E411-794AC067E4B2}"/>
              </a:ext>
            </a:extLst>
          </p:cNvPr>
          <p:cNvSpPr txBox="1"/>
          <p:nvPr/>
        </p:nvSpPr>
        <p:spPr>
          <a:xfrm>
            <a:off x="301229" y="2149553"/>
            <a:ext cx="5629552" cy="27171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58368" indent="-548640" defTabSz="1119554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84BE00"/>
              </a:buClr>
              <a:buFont typeface="System Font Regular"/>
              <a:buChar char="►"/>
              <a:tabLst>
                <a:tab pos="1645913" algn="l"/>
              </a:tabLst>
            </a:pPr>
            <a:endParaRPr lang="en-US" sz="1440" dirty="0">
              <a:solidFill>
                <a:srgbClr val="00597C"/>
              </a:solidFill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</a:endParaRPr>
          </a:p>
          <a:p>
            <a:pPr marL="658368" indent="-548640" defTabSz="1119554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84BE00"/>
              </a:buClr>
              <a:buFont typeface="System Font Regular"/>
              <a:buChar char="►"/>
              <a:tabLst>
                <a:tab pos="1645913" algn="l"/>
              </a:tabLst>
            </a:pPr>
            <a:r>
              <a:rPr lang="en-US" sz="1440" dirty="0">
                <a:solidFill>
                  <a:srgbClr val="00597C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</a:rPr>
              <a:t>Cybersecurity software company</a:t>
            </a:r>
          </a:p>
          <a:p>
            <a:pPr marL="658368" indent="-548640" defTabSz="1119554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84BE00"/>
              </a:buClr>
              <a:buFont typeface="System Font Regular"/>
              <a:buChar char="►"/>
              <a:tabLst>
                <a:tab pos="1645913" algn="l"/>
              </a:tabLst>
            </a:pPr>
            <a:r>
              <a:rPr lang="en-US" sz="1440" b="0" i="0" u="none" strike="noStrike" baseline="0" dirty="0">
                <a:solidFill>
                  <a:srgbClr val="00597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cured $320,000 in angel funding through participation in Golden Seeds</a:t>
            </a:r>
          </a:p>
          <a:p>
            <a:pPr marL="658368" indent="-548640" defTabSz="1119554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84BE00"/>
              </a:buClr>
              <a:buFont typeface="System Font Regular"/>
              <a:buChar char="►"/>
              <a:tabLst>
                <a:tab pos="1645913" algn="l"/>
              </a:tabLst>
            </a:pPr>
            <a:r>
              <a:rPr lang="en-US" sz="1440" b="0" i="0" u="none" strike="noStrike" baseline="0" dirty="0">
                <a:solidFill>
                  <a:srgbClr val="00597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funding from GS and other investors was matched by the NJEDA's Angel Match Program with a $500,000 investment</a:t>
            </a:r>
          </a:p>
          <a:p>
            <a:pPr marL="658368" indent="-548640" defTabSz="1119554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84BE00"/>
              </a:buClr>
              <a:buFont typeface="System Font Regular"/>
              <a:buChar char="►"/>
              <a:tabLst>
                <a:tab pos="1645913" algn="l"/>
              </a:tabLst>
            </a:pPr>
            <a:r>
              <a:rPr lang="en-US" sz="1440" b="0" i="0" u="none" strike="noStrike" baseline="0" dirty="0">
                <a:solidFill>
                  <a:srgbClr val="00597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company’s investors leveraged Angel Tax Credit as well</a:t>
            </a:r>
          </a:p>
          <a:p>
            <a:pPr marL="658368" indent="-548640" defTabSz="1119554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84BE00"/>
              </a:buClr>
              <a:buFont typeface="System Font Regular"/>
              <a:buChar char="►"/>
              <a:tabLst>
                <a:tab pos="1645913" algn="l"/>
              </a:tabLst>
            </a:pPr>
            <a:endParaRPr lang="en-US" sz="1440" dirty="0">
              <a:solidFill>
                <a:srgbClr val="00597C"/>
              </a:solidFill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E82434-5D09-C19C-1AA7-FB055C70C296}"/>
              </a:ext>
            </a:extLst>
          </p:cNvPr>
          <p:cNvSpPr txBox="1"/>
          <p:nvPr/>
        </p:nvSpPr>
        <p:spPr>
          <a:xfrm>
            <a:off x="478775" y="1881788"/>
            <a:ext cx="614869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9728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00587B"/>
                </a:solidFill>
                <a:latin typeface="Calibri" panose="020F0502020204030204"/>
                <a:ea typeface="ＭＳ Ｐゴシック"/>
              </a:rPr>
              <a:t>Princeton Identity</a:t>
            </a:r>
            <a:endParaRPr lang="en-US" sz="2400" b="1" dirty="0">
              <a:solidFill>
                <a:srgbClr val="00587B"/>
              </a:solidFill>
              <a:latin typeface="Calibri" panose="020F0502020204030204"/>
              <a:ea typeface="ＭＳ Ｐゴシック" panose="020B0600070205080204" pitchFamily="34" charset="-128"/>
            </a:endParaRPr>
          </a:p>
        </p:txBody>
      </p:sp>
      <p:sp>
        <p:nvSpPr>
          <p:cNvPr id="11" name="Triangle 3">
            <a:extLst>
              <a:ext uri="{FF2B5EF4-FFF2-40B4-BE49-F238E27FC236}">
                <a16:creationId xmlns:a16="http://schemas.microsoft.com/office/drawing/2014/main" id="{F04559B4-A24A-F71F-4D02-D720BE010AF9}"/>
              </a:ext>
            </a:extLst>
          </p:cNvPr>
          <p:cNvSpPr/>
          <p:nvPr/>
        </p:nvSpPr>
        <p:spPr>
          <a:xfrm rot="16200000">
            <a:off x="8882225" y="-2108045"/>
            <a:ext cx="1201729" cy="5417820"/>
          </a:xfrm>
          <a:prstGeom prst="triangle">
            <a:avLst>
              <a:gd name="adj" fmla="val 100000"/>
            </a:avLst>
          </a:prstGeom>
          <a:solidFill>
            <a:srgbClr val="84BE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7326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46FBDF-2D50-CCC1-B01E-AC81E366E2B5}"/>
              </a:ext>
            </a:extLst>
          </p:cNvPr>
          <p:cNvSpPr txBox="1">
            <a:spLocks/>
          </p:cNvSpPr>
          <p:nvPr/>
        </p:nvSpPr>
        <p:spPr>
          <a:xfrm>
            <a:off x="328333" y="582500"/>
            <a:ext cx="9369340" cy="610884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597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J Entrepreneur Support Program – Guarantee For Investors </a:t>
            </a:r>
            <a:endParaRPr lang="en-US" sz="2800" dirty="0">
              <a:solidFill>
                <a:srgbClr val="00597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7E29DFD-D4C0-F461-438A-C559C7E14629}"/>
              </a:ext>
            </a:extLst>
          </p:cNvPr>
          <p:cNvCxnSpPr>
            <a:cxnSpLocks/>
          </p:cNvCxnSpPr>
          <p:nvPr/>
        </p:nvCxnSpPr>
        <p:spPr>
          <a:xfrm>
            <a:off x="328333" y="1201730"/>
            <a:ext cx="11863667" cy="0"/>
          </a:xfrm>
          <a:prstGeom prst="line">
            <a:avLst/>
          </a:prstGeom>
          <a:ln w="19050">
            <a:solidFill>
              <a:srgbClr val="84BE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" name="Triangle 3">
            <a:extLst>
              <a:ext uri="{FF2B5EF4-FFF2-40B4-BE49-F238E27FC236}">
                <a16:creationId xmlns:a16="http://schemas.microsoft.com/office/drawing/2014/main" id="{8592E01B-D2B2-B045-66F6-5E91027C1D2D}"/>
              </a:ext>
            </a:extLst>
          </p:cNvPr>
          <p:cNvSpPr/>
          <p:nvPr/>
        </p:nvSpPr>
        <p:spPr>
          <a:xfrm rot="16200000">
            <a:off x="8882225" y="-2108045"/>
            <a:ext cx="1201729" cy="5417820"/>
          </a:xfrm>
          <a:prstGeom prst="triangle">
            <a:avLst>
              <a:gd name="adj" fmla="val 100000"/>
            </a:avLst>
          </a:prstGeom>
          <a:solidFill>
            <a:srgbClr val="84BE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C63217-5FE6-6863-3E54-CECEDDF8C959}"/>
              </a:ext>
            </a:extLst>
          </p:cNvPr>
          <p:cNvSpPr txBox="1"/>
          <p:nvPr/>
        </p:nvSpPr>
        <p:spPr>
          <a:xfrm>
            <a:off x="328333" y="1388918"/>
            <a:ext cx="10415316" cy="844808"/>
          </a:xfrm>
          <a:prstGeom prst="snip2Diag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marR="0" lvl="0">
              <a:spcBef>
                <a:spcPts val="0"/>
              </a:spcBef>
              <a:spcAft>
                <a:spcPts val="600"/>
              </a:spcAft>
            </a:pPr>
            <a:r>
              <a:rPr lang="en-US" sz="2000" dirty="0">
                <a:solidFill>
                  <a:srgbClr val="00597C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ovides a guarantee of up to 80% on private investor loans/convertible notes advanced to eligible NJ Companies for working capital.</a:t>
            </a:r>
            <a:endParaRPr lang="en-US" sz="2000" dirty="0">
              <a:solidFill>
                <a:srgbClr val="00597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9FD2B13-5EA6-BE2E-B3C3-F6067A6238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404" y="5492387"/>
            <a:ext cx="1648911" cy="109927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3259948-F235-46BD-86DB-5D4FC24A07FF}"/>
              </a:ext>
            </a:extLst>
          </p:cNvPr>
          <p:cNvSpPr txBox="1"/>
          <p:nvPr/>
        </p:nvSpPr>
        <p:spPr>
          <a:xfrm>
            <a:off x="7959999" y="2214503"/>
            <a:ext cx="6990573" cy="2773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Guarantee terms</a:t>
            </a:r>
          </a:p>
          <a:p>
            <a:pPr marL="742950" lvl="1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80% Note/Loan Amount</a:t>
            </a:r>
          </a:p>
          <a:p>
            <a:pPr marL="742950" lvl="1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Up to $400K</a:t>
            </a:r>
          </a:p>
          <a:p>
            <a:pPr marL="742950" lvl="1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1 year from date of note</a:t>
            </a:r>
          </a:p>
          <a:p>
            <a:pPr marL="742950" lvl="1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A71CAA0-6239-4956-8B74-BB20003BFF63}"/>
              </a:ext>
            </a:extLst>
          </p:cNvPr>
          <p:cNvSpPr txBox="1"/>
          <p:nvPr/>
        </p:nvSpPr>
        <p:spPr>
          <a:xfrm>
            <a:off x="244629" y="6422080"/>
            <a:ext cx="23244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www.njeda.gov/njesp/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6FB3FD4-CA58-42C7-ACC8-1F90B45AA993}"/>
              </a:ext>
            </a:extLst>
          </p:cNvPr>
          <p:cNvSpPr txBox="1"/>
          <p:nvPr/>
        </p:nvSpPr>
        <p:spPr>
          <a:xfrm>
            <a:off x="646329" y="2600442"/>
            <a:ext cx="3747318" cy="32348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No Revenue Requirement </a:t>
            </a: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At least 1 C suite working in NJ </a:t>
            </a: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50% of employees in NJ supported by docs</a:t>
            </a: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NJ Office(co-working, incubator, leased)</a:t>
            </a:r>
          </a:p>
          <a:p>
            <a:pPr>
              <a:lnSpc>
                <a:spcPct val="150000"/>
              </a:lnSpc>
              <a:buClr>
                <a:srgbClr val="84BE00"/>
              </a:buClr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1717C9C-1E50-63EC-CF67-679BA627319B}"/>
              </a:ext>
            </a:extLst>
          </p:cNvPr>
          <p:cNvSpPr txBox="1"/>
          <p:nvPr/>
        </p:nvSpPr>
        <p:spPr>
          <a:xfrm>
            <a:off x="328333" y="2233725"/>
            <a:ext cx="2405989" cy="506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Compan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AF15DB-D8A5-2430-C8C7-DA44692710E7}"/>
              </a:ext>
            </a:extLst>
          </p:cNvPr>
          <p:cNvSpPr txBox="1"/>
          <p:nvPr/>
        </p:nvSpPr>
        <p:spPr>
          <a:xfrm>
            <a:off x="4393647" y="2233725"/>
            <a:ext cx="5965794" cy="1891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Note/Loan terms</a:t>
            </a:r>
          </a:p>
          <a:p>
            <a:pPr marL="742950" lvl="1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Maturity of at least 1 year</a:t>
            </a:r>
          </a:p>
          <a:p>
            <a:pPr marL="742950" lvl="1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No payments in year 1</a:t>
            </a:r>
          </a:p>
          <a:p>
            <a:pPr marL="742950" lvl="1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Unsecured</a:t>
            </a:r>
          </a:p>
        </p:txBody>
      </p:sp>
    </p:spTree>
    <p:extLst>
      <p:ext uri="{BB962C8B-B14F-4D97-AF65-F5344CB8AC3E}">
        <p14:creationId xmlns:p14="http://schemas.microsoft.com/office/powerpoint/2010/main" val="9669665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4793D58D-A1EE-4229-87E4-2FF57167FB35}"/>
              </a:ext>
            </a:extLst>
          </p:cNvPr>
          <p:cNvSpPr/>
          <p:nvPr/>
        </p:nvSpPr>
        <p:spPr>
          <a:xfrm>
            <a:off x="183930" y="157401"/>
            <a:ext cx="11738781" cy="1156494"/>
          </a:xfrm>
          <a:custGeom>
            <a:avLst/>
            <a:gdLst/>
            <a:ahLst/>
            <a:cxnLst/>
            <a:rect l="l" t="t" r="r" b="b"/>
            <a:pathLst>
              <a:path w="6873872" h="162473">
                <a:moveTo>
                  <a:pt x="0" y="0"/>
                </a:moveTo>
                <a:lnTo>
                  <a:pt x="6873872" y="0"/>
                </a:lnTo>
                <a:lnTo>
                  <a:pt x="6873872" y="162473"/>
                </a:lnTo>
                <a:lnTo>
                  <a:pt x="0" y="162473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3A14DE21-05BB-4A28-862B-A0CDC85FF5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662714" y="6543784"/>
            <a:ext cx="517856" cy="381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169" kern="1200" smtClean="0">
                <a:solidFill>
                  <a:srgbClr val="40404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492">
              <a:defRPr/>
            </a:pPr>
            <a:fld id="{04E913E4-3261-49BC-A4A9-BBF84B9F10DB}" type="slidenum">
              <a:rPr lang="en-US" altLang="en-US">
                <a:solidFill>
                  <a:prstClr val="white">
                    <a:lumMod val="50000"/>
                  </a:prstClr>
                </a:solidFill>
              </a:rPr>
              <a:pPr defTabSz="914492">
                <a:defRPr/>
              </a:pPr>
              <a:t>12</a:t>
            </a:fld>
            <a:endParaRPr lang="en-US" alt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A2D1B7B4-53C1-438D-B2C0-DDB59EAFA4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4012520"/>
              </p:ext>
            </p:extLst>
          </p:nvPr>
        </p:nvGraphicFramePr>
        <p:xfrm>
          <a:off x="377687" y="1483898"/>
          <a:ext cx="11285026" cy="44223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92674">
                  <a:extLst>
                    <a:ext uri="{9D8B030D-6E8A-4147-A177-3AD203B41FA5}">
                      <a16:colId xmlns:a16="http://schemas.microsoft.com/office/drawing/2014/main" val="2609498806"/>
                    </a:ext>
                  </a:extLst>
                </a:gridCol>
                <a:gridCol w="4365321">
                  <a:extLst>
                    <a:ext uri="{9D8B030D-6E8A-4147-A177-3AD203B41FA5}">
                      <a16:colId xmlns:a16="http://schemas.microsoft.com/office/drawing/2014/main" val="1537923060"/>
                    </a:ext>
                  </a:extLst>
                </a:gridCol>
                <a:gridCol w="2427031">
                  <a:extLst>
                    <a:ext uri="{9D8B030D-6E8A-4147-A177-3AD203B41FA5}">
                      <a16:colId xmlns:a16="http://schemas.microsoft.com/office/drawing/2014/main" val="2882887567"/>
                    </a:ext>
                  </a:extLst>
                </a:gridCol>
              </a:tblGrid>
              <a:tr h="670560">
                <a:tc>
                  <a:txBody>
                    <a:bodyPr/>
                    <a:lstStyle/>
                    <a:p>
                      <a:pPr marL="0" marR="0" lvl="0" indent="0" algn="l" defTabSz="9144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Grant Programs - </a:t>
                      </a:r>
                      <a:r>
                        <a:rPr lang="en-US" sz="2000" b="1" dirty="0">
                          <a:solidFill>
                            <a:schemeClr val="bg1"/>
                          </a:solidFill>
                        </a:rPr>
                        <a:t>www.njeda.gov/csit </a:t>
                      </a:r>
                    </a:p>
                    <a:p>
                      <a:endParaRPr lang="en-US" sz="1800" dirty="0"/>
                    </a:p>
                  </a:txBody>
                  <a:tcPr>
                    <a:solidFill>
                      <a:srgbClr val="00597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Eligibility Requirements (Standard)</a:t>
                      </a:r>
                    </a:p>
                  </a:txBody>
                  <a:tcPr>
                    <a:solidFill>
                      <a:srgbClr val="00597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/>
                        <a:t>Timeline (Target)</a:t>
                      </a:r>
                      <a:endParaRPr lang="en-US" sz="1800" dirty="0"/>
                    </a:p>
                    <a:p>
                      <a:endParaRPr lang="en-US" sz="1800" dirty="0"/>
                    </a:p>
                  </a:txBody>
                  <a:tcPr>
                    <a:solidFill>
                      <a:srgbClr val="0059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87474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Catalyst R&amp;D Voucher - $40K (includes Non-retail food and beverage R&amp;D projects)</a:t>
                      </a:r>
                    </a:p>
                  </a:txBody>
                  <a:tcPr>
                    <a:solidFill>
                      <a:srgbClr val="00597C"/>
                    </a:solidFill>
                  </a:tcPr>
                </a:tc>
                <a:tc rowSpan="8">
                  <a:txBody>
                    <a:bodyPr/>
                    <a:lstStyle/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&lt; 50 employees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50% of employees work in NJ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1-2 Full-time employees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&lt; $5 million in prior yr. revenue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In good standing to do business in NJ (Tax Clearance)</a:t>
                      </a:r>
                    </a:p>
                  </a:txBody>
                  <a:tcPr>
                    <a:solidFill>
                      <a:srgbClr val="00597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Rolling - Open</a:t>
                      </a:r>
                    </a:p>
                  </a:txBody>
                  <a:tcPr>
                    <a:solidFill>
                      <a:srgbClr val="0059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431682"/>
                  </a:ext>
                </a:extLst>
              </a:tr>
              <a:tr h="444532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Catalyst Seed Grant - $75K - $150K</a:t>
                      </a:r>
                    </a:p>
                  </a:txBody>
                  <a:tcPr>
                    <a:solidFill>
                      <a:srgbClr val="00597C"/>
                    </a:solidFill>
                  </a:tcPr>
                </a:tc>
                <a:tc vMerge="1">
                  <a:txBody>
                    <a:bodyPr/>
                    <a:lstStyle/>
                    <a:p>
                      <a:r>
                        <a:rPr lang="en-US" dirty="0"/>
                        <a:t>50% of employees work in NJ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Yearly 2</a:t>
                      </a:r>
                      <a:r>
                        <a:rPr lang="en-US" sz="1800" baseline="30000" dirty="0">
                          <a:solidFill>
                            <a:schemeClr val="bg1"/>
                          </a:solidFill>
                        </a:rPr>
                        <a:t>nd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 Quarter (Est)</a:t>
                      </a:r>
                    </a:p>
                  </a:txBody>
                  <a:tcPr>
                    <a:solidFill>
                      <a:srgbClr val="0059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5224912"/>
                  </a:ext>
                </a:extLst>
              </a:tr>
              <a:tr h="444532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Clean Tech R&amp;D Voucher -$40K</a:t>
                      </a:r>
                    </a:p>
                  </a:txBody>
                  <a:tcPr>
                    <a:solidFill>
                      <a:srgbClr val="00597C"/>
                    </a:solidFill>
                  </a:tcPr>
                </a:tc>
                <a:tc vMerge="1">
                  <a:txBody>
                    <a:bodyPr/>
                    <a:lstStyle/>
                    <a:p>
                      <a:r>
                        <a:rPr lang="en-US" dirty="0"/>
                        <a:t>1-2 Full-time employ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Rolling - Open</a:t>
                      </a:r>
                    </a:p>
                  </a:txBody>
                  <a:tcPr>
                    <a:solidFill>
                      <a:srgbClr val="0059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7363978"/>
                  </a:ext>
                </a:extLst>
              </a:tr>
              <a:tr h="444532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Clean Tech Seed Grant -$75K </a:t>
                      </a:r>
                    </a:p>
                  </a:txBody>
                  <a:tcPr>
                    <a:solidFill>
                      <a:srgbClr val="00597C"/>
                    </a:solidFill>
                  </a:tcPr>
                </a:tc>
                <a:tc vMerge="1">
                  <a:txBody>
                    <a:bodyPr/>
                    <a:lstStyle/>
                    <a:p>
                      <a:r>
                        <a:rPr lang="en-US" dirty="0"/>
                        <a:t>&lt; 5 million in prior yr. reven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Yearly 4th Quarter (Est)</a:t>
                      </a:r>
                    </a:p>
                  </a:txBody>
                  <a:tcPr>
                    <a:solidFill>
                      <a:srgbClr val="0059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6372505"/>
                  </a:ext>
                </a:extLst>
              </a:tr>
              <a:tr h="444532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Clean Tech Pilot Demonstration - $250K</a:t>
                      </a:r>
                    </a:p>
                  </a:txBody>
                  <a:tcPr>
                    <a:solidFill>
                      <a:srgbClr val="00597C"/>
                    </a:solidFill>
                  </a:tcPr>
                </a:tc>
                <a:tc vMerge="1">
                  <a:txBody>
                    <a:bodyPr/>
                    <a:lstStyle/>
                    <a:p>
                      <a:r>
                        <a:rPr lang="en-US" dirty="0"/>
                        <a:t>In good standing to do business in NJ (tax clearanc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Yearly  2</a:t>
                      </a:r>
                      <a:r>
                        <a:rPr lang="en-US" sz="1800" baseline="30000" dirty="0">
                          <a:solidFill>
                            <a:schemeClr val="bg1"/>
                          </a:solidFill>
                        </a:rPr>
                        <a:t>nd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  Quarter (Est)</a:t>
                      </a:r>
                    </a:p>
                  </a:txBody>
                  <a:tcPr>
                    <a:solidFill>
                      <a:srgbClr val="0059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795987"/>
                  </a:ext>
                </a:extLst>
              </a:tr>
              <a:tr h="444532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Food / Agriculture Seed Grant - $75K</a:t>
                      </a:r>
                    </a:p>
                  </a:txBody>
                  <a:tcPr>
                    <a:solidFill>
                      <a:srgbClr val="00597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Yearly 2</a:t>
                      </a:r>
                      <a:r>
                        <a:rPr lang="en-US" sz="1800" baseline="30000" dirty="0">
                          <a:solidFill>
                            <a:schemeClr val="bg1"/>
                          </a:solidFill>
                        </a:rPr>
                        <a:t>nd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  Quarter (Est)</a:t>
                      </a:r>
                    </a:p>
                  </a:txBody>
                  <a:tcPr>
                    <a:solidFill>
                      <a:srgbClr val="0059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062096"/>
                  </a:ext>
                </a:extLst>
              </a:tr>
              <a:tr h="444532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Maternal / Infant Health Seed Grant - $75K</a:t>
                      </a:r>
                    </a:p>
                  </a:txBody>
                  <a:tcPr>
                    <a:solidFill>
                      <a:srgbClr val="00597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Yearly 2nd Quarter (Est)</a:t>
                      </a:r>
                    </a:p>
                  </a:txBody>
                  <a:tcPr>
                    <a:solidFill>
                      <a:srgbClr val="0059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7355048"/>
                  </a:ext>
                </a:extLst>
              </a:tr>
              <a:tr h="444532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SBIR/STTR Matching Grant - $25K - $50K</a:t>
                      </a:r>
                    </a:p>
                  </a:txBody>
                  <a:tcPr>
                    <a:solidFill>
                      <a:srgbClr val="00597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Rolling - Open</a:t>
                      </a:r>
                    </a:p>
                  </a:txBody>
                  <a:tcPr>
                    <a:solidFill>
                      <a:srgbClr val="0059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0327026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7D4D7F19-8B8D-42B1-9202-FBE5045C50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7687" y="5936048"/>
            <a:ext cx="1934638" cy="79864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6A6B867-7D44-299D-0AB3-1B5C1E812FA9}"/>
              </a:ext>
            </a:extLst>
          </p:cNvPr>
          <p:cNvSpPr txBox="1"/>
          <p:nvPr/>
        </p:nvSpPr>
        <p:spPr>
          <a:xfrm>
            <a:off x="777226" y="182409"/>
            <a:ext cx="11651283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92">
              <a:defRPr/>
            </a:pPr>
            <a:r>
              <a:rPr lang="en-US" sz="2800" b="1" dirty="0">
                <a:solidFill>
                  <a:srgbClr val="FFFFFF"/>
                </a:solidFill>
                <a:cs typeface="Segoe UI Light" panose="020B0502040204020203" pitchFamily="34" charset="0"/>
              </a:rPr>
              <a:t>CSIT’s Mission   </a:t>
            </a:r>
          </a:p>
          <a:p>
            <a:pPr marL="285750" indent="-285750" defTabSz="914492">
              <a:buFontTx/>
              <a:buChar char="-"/>
              <a:defRPr/>
            </a:pPr>
            <a:r>
              <a:rPr lang="en-US" sz="1800" dirty="0">
                <a:solidFill>
                  <a:srgbClr val="FFFFFF"/>
                </a:solidFill>
                <a:cs typeface="Segoe UI Light" panose="020B0502040204020203" pitchFamily="34" charset="0"/>
              </a:rPr>
              <a:t>Supporting early-stage entrepreneurs / academics developing (R&amp;D) innovation-based companies,</a:t>
            </a:r>
          </a:p>
          <a:p>
            <a:pPr marL="285750" indent="-285750" defTabSz="914492">
              <a:buFontTx/>
              <a:buChar char="-"/>
              <a:defRPr/>
            </a:pPr>
            <a:r>
              <a:rPr lang="en-US" sz="1800" dirty="0">
                <a:solidFill>
                  <a:srgbClr val="FFFFFF"/>
                </a:solidFill>
                <a:cs typeface="Segoe UI Light" panose="020B0502040204020203" pitchFamily="34" charset="0"/>
              </a:rPr>
              <a:t>Encouraging collaboration and connectivity between industry and academia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5409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98088FC-D8A0-4798-8BB5-9B9CE9BC8D7B}"/>
              </a:ext>
            </a:extLst>
          </p:cNvPr>
          <p:cNvSpPr txBox="1"/>
          <p:nvPr/>
        </p:nvSpPr>
        <p:spPr>
          <a:xfrm>
            <a:off x="1194824" y="1641332"/>
            <a:ext cx="45174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US" sz="2000">
              <a:solidFill>
                <a:schemeClr val="bg1"/>
              </a:solidFill>
              <a:ea typeface="Roboto" panose="02000000000000000000" pitchFamily="2" charset="0"/>
              <a:cs typeface="Times New Roman" panose="02020603050405020304" pitchFamily="18" charset="0"/>
            </a:endParaRPr>
          </a:p>
        </p:txBody>
      </p:sp>
      <p:sp>
        <p:nvSpPr>
          <p:cNvPr id="9" name="Freeform 2">
            <a:extLst>
              <a:ext uri="{FF2B5EF4-FFF2-40B4-BE49-F238E27FC236}">
                <a16:creationId xmlns:a16="http://schemas.microsoft.com/office/drawing/2014/main" id="{D101B25F-8774-4419-B0A3-6B82B7A36F1A}"/>
              </a:ext>
            </a:extLst>
          </p:cNvPr>
          <p:cNvSpPr/>
          <p:nvPr/>
        </p:nvSpPr>
        <p:spPr>
          <a:xfrm flipV="1">
            <a:off x="-514350" y="1048819"/>
            <a:ext cx="13220700" cy="4551151"/>
          </a:xfrm>
          <a:custGeom>
            <a:avLst/>
            <a:gdLst/>
            <a:ahLst/>
            <a:cxnLst/>
            <a:rect l="l" t="t" r="r" b="b"/>
            <a:pathLst>
              <a:path w="6873872" h="162473">
                <a:moveTo>
                  <a:pt x="0" y="0"/>
                </a:moveTo>
                <a:lnTo>
                  <a:pt x="6873872" y="0"/>
                </a:lnTo>
                <a:lnTo>
                  <a:pt x="6873872" y="162473"/>
                </a:lnTo>
                <a:lnTo>
                  <a:pt x="0" y="16247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476B1D-6611-4B1C-8DEC-30B9B18D32AE}"/>
              </a:ext>
            </a:extLst>
          </p:cNvPr>
          <p:cNvSpPr txBox="1"/>
          <p:nvPr/>
        </p:nvSpPr>
        <p:spPr>
          <a:xfrm>
            <a:off x="-213367" y="3484784"/>
            <a:ext cx="6309367" cy="187743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ea typeface="Roboto" panose="02000000000000000000" pitchFamily="2" charset="0"/>
                <a:cs typeface="Times New Roman" panose="02020603050405020304" pitchFamily="18" charset="0"/>
              </a:rPr>
              <a:t>JUDITH SHEFT</a:t>
            </a:r>
            <a:endParaRPr lang="en-US" sz="4000" b="1" spc="-13" dirty="0">
              <a:solidFill>
                <a:schemeClr val="bg1"/>
              </a:solidFill>
              <a:cs typeface="Calibri"/>
            </a:endParaRPr>
          </a:p>
          <a:p>
            <a:pPr algn="ctr"/>
            <a:r>
              <a:rPr lang="en-US" sz="3200" dirty="0">
                <a:solidFill>
                  <a:schemeClr val="bg1"/>
                </a:solidFill>
                <a:ea typeface="Roboto" panose="02000000000000000000" pitchFamily="2" charset="0"/>
                <a:cs typeface="Times New Roman" panose="02020603050405020304" pitchFamily="18" charset="0"/>
              </a:rPr>
              <a:t>Executive</a:t>
            </a:r>
            <a:r>
              <a:rPr lang="en-US" sz="3200" spc="-63" dirty="0">
                <a:solidFill>
                  <a:schemeClr val="bg1"/>
                </a:solidFill>
                <a:cs typeface="Calibri"/>
              </a:rPr>
              <a:t> </a:t>
            </a:r>
            <a:r>
              <a:rPr lang="en-US" sz="3200" dirty="0">
                <a:solidFill>
                  <a:schemeClr val="bg1"/>
                </a:solidFill>
                <a:ea typeface="Roboto" panose="02000000000000000000" pitchFamily="2" charset="0"/>
                <a:cs typeface="Times New Roman" panose="02020603050405020304" pitchFamily="18" charset="0"/>
              </a:rPr>
              <a:t>Director - CSIT</a:t>
            </a:r>
          </a:p>
          <a:p>
            <a:pPr algn="ctr"/>
            <a:r>
              <a:rPr lang="en-US" sz="3200" dirty="0">
                <a:solidFill>
                  <a:schemeClr val="bg1"/>
                </a:solidFill>
                <a:ea typeface="Roboto" panose="02000000000000000000" pitchFamily="2" charset="0"/>
                <a:cs typeface="Times New Roman" panose="02020603050405020304" pitchFamily="18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sheft@njcsit.gov</a:t>
            </a:r>
            <a:r>
              <a:rPr lang="en-US" sz="3200" dirty="0">
                <a:solidFill>
                  <a:schemeClr val="bg1"/>
                </a:solidFill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</a:p>
          <a:p>
            <a:pPr algn="ctr"/>
            <a:endParaRPr lang="en-US" sz="2000" b="1" i="0" dirty="0">
              <a:solidFill>
                <a:schemeClr val="bg1"/>
              </a:solidFill>
              <a:effectLst/>
              <a:ea typeface="Cambria"/>
              <a:cs typeface="Times New Roman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2EA4B38-9A08-4E04-839F-EED8AA2FB5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95879" y="5993919"/>
            <a:ext cx="1296121" cy="864081"/>
          </a:xfrm>
          <a:prstGeom prst="rect">
            <a:avLst/>
          </a:prstGeom>
        </p:spPr>
      </p:pic>
      <p:pic>
        <p:nvPicPr>
          <p:cNvPr id="3" name="object 4">
            <a:extLst>
              <a:ext uri="{FF2B5EF4-FFF2-40B4-BE49-F238E27FC236}">
                <a16:creationId xmlns:a16="http://schemas.microsoft.com/office/drawing/2014/main" id="{E12694D3-7B1E-0694-C718-53F59391B404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878667" y="1428331"/>
            <a:ext cx="1826885" cy="184345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1A180D7-504C-E44F-AC31-9927D522A47B}"/>
              </a:ext>
            </a:extLst>
          </p:cNvPr>
          <p:cNvSpPr txBox="1"/>
          <p:nvPr/>
        </p:nvSpPr>
        <p:spPr>
          <a:xfrm>
            <a:off x="6834027" y="1370297"/>
            <a:ext cx="47099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6">
              <a:defRPr/>
            </a:pPr>
            <a:r>
              <a:rPr lang="en-US" sz="2800" b="1" dirty="0">
                <a:solidFill>
                  <a:schemeClr val="bg1"/>
                </a:solidFill>
              </a:rPr>
              <a:t>Information on capabilities at NJ universities</a:t>
            </a:r>
            <a:r>
              <a:rPr lang="en-US" sz="2800" dirty="0">
                <a:solidFill>
                  <a:schemeClr val="bg1"/>
                </a:solidFill>
              </a:rPr>
              <a:t>:</a:t>
            </a:r>
          </a:p>
          <a:p>
            <a:pPr defTabSz="914446">
              <a:defRPr/>
            </a:pPr>
            <a:r>
              <a:rPr lang="en-US" sz="2800" dirty="0">
                <a:solidFill>
                  <a:schemeClr val="bg1"/>
                </a:solidFill>
              </a:rPr>
              <a:t>www.researchwithnj.com </a:t>
            </a:r>
          </a:p>
          <a:p>
            <a:pPr defTabSz="914446">
              <a:defRPr/>
            </a:pP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396340-8D18-0F31-B931-592029261A29}"/>
              </a:ext>
            </a:extLst>
          </p:cNvPr>
          <p:cNvSpPr txBox="1"/>
          <p:nvPr/>
        </p:nvSpPr>
        <p:spPr>
          <a:xfrm>
            <a:off x="6834027" y="3114306"/>
            <a:ext cx="4937763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/>
            <a:r>
              <a:rPr lang="en-US" sz="2800" b="1" dirty="0">
                <a:solidFill>
                  <a:schemeClr val="bg1"/>
                </a:solidFill>
                <a:latin typeface="Calibri"/>
              </a:rPr>
              <a:t>Grant submission assistance for Federal SBIR/STTR - NJSBDC </a:t>
            </a:r>
            <a:r>
              <a:rPr lang="en-US" sz="2800" dirty="0">
                <a:solidFill>
                  <a:schemeClr val="bg1"/>
                </a:solidFill>
                <a:latin typeface="Calibri"/>
              </a:rPr>
              <a:t>-https://njsbdc.com/techteam/</a:t>
            </a:r>
          </a:p>
        </p:txBody>
      </p:sp>
    </p:spTree>
    <p:extLst>
      <p:ext uri="{BB962C8B-B14F-4D97-AF65-F5344CB8AC3E}">
        <p14:creationId xmlns:p14="http://schemas.microsoft.com/office/powerpoint/2010/main" val="33662001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C994CBE-C787-C818-A8AA-A4AF4DBE316C}"/>
              </a:ext>
            </a:extLst>
          </p:cNvPr>
          <p:cNvSpPr/>
          <p:nvPr/>
        </p:nvSpPr>
        <p:spPr>
          <a:xfrm>
            <a:off x="523783" y="2602343"/>
            <a:ext cx="6258757" cy="2574524"/>
          </a:xfrm>
          <a:prstGeom prst="rect">
            <a:avLst/>
          </a:prstGeom>
          <a:solidFill>
            <a:srgbClr val="84BE00"/>
          </a:solidFill>
          <a:ln>
            <a:solidFill>
              <a:srgbClr val="84B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B8F394F-3426-06D2-1670-907B8D0741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95879" y="5993919"/>
            <a:ext cx="1296121" cy="86408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72EC645-3917-87E4-E63B-35088EA728E4}"/>
              </a:ext>
            </a:extLst>
          </p:cNvPr>
          <p:cNvSpPr txBox="1"/>
          <p:nvPr/>
        </p:nvSpPr>
        <p:spPr>
          <a:xfrm>
            <a:off x="230304" y="1156654"/>
            <a:ext cx="120256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597C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Companies learn about NJEDA products developed to support tech and biotech startup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597C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At each event, there will be a brief presentation, featured guest speakers, and time for networking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AF4AC5-A5FE-25C9-AF4D-7512C73B7131}"/>
              </a:ext>
            </a:extLst>
          </p:cNvPr>
          <p:cNvSpPr txBox="1"/>
          <p:nvPr/>
        </p:nvSpPr>
        <p:spPr>
          <a:xfrm>
            <a:off x="7294928" y="2916606"/>
            <a:ext cx="5557126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84BE00"/>
              </a:buClr>
              <a:buSzTx/>
              <a:buFont typeface="System Font Regular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597C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Monthly office hou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84BE00"/>
              </a:buClr>
              <a:buSzTx/>
              <a:buFont typeface="System Font Regular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597C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Rotating virtual and in-person</a:t>
            </a: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84BE00"/>
              </a:buClr>
              <a:buSzTx/>
              <a:buFont typeface="System Font Regular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597C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In-Person: North Brunswick and Newar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 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5A8FF48-C320-C168-5BDE-C6F0C79731C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0682" t="11236" r="10530" b="36528"/>
          <a:stretch/>
        </p:blipFill>
        <p:spPr>
          <a:xfrm>
            <a:off x="647484" y="2785750"/>
            <a:ext cx="5995715" cy="2207711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BE333C2-B29E-D08E-AD34-F7C12D402A7D}"/>
              </a:ext>
            </a:extLst>
          </p:cNvPr>
          <p:cNvSpPr txBox="1"/>
          <p:nvPr/>
        </p:nvSpPr>
        <p:spPr>
          <a:xfrm>
            <a:off x="0" y="6435372"/>
            <a:ext cx="31686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400">
                <a:cs typeface="Calibri" panose="020F0502020204030204" pitchFamily="34" charset="0"/>
              </a:defRPr>
            </a:lvl1pPr>
          </a:lstStyle>
          <a:p>
            <a:r>
              <a:rPr lang="en-US">
                <a:ea typeface="Cambria" panose="02040503050406030204" pitchFamily="18" charset="0"/>
                <a:hlinkClick r:id="rId5"/>
              </a:rPr>
              <a:t>www.njeda.gov/innovation-office-hours/</a:t>
            </a:r>
            <a:endParaRPr lang="en-US">
              <a:ea typeface="Cambria" panose="02040503050406030204" pitchFamily="18" charset="0"/>
            </a:endParaRPr>
          </a:p>
        </p:txBody>
      </p:sp>
      <p:sp>
        <p:nvSpPr>
          <p:cNvPr id="4" name="Freeform 2">
            <a:extLst>
              <a:ext uri="{FF2B5EF4-FFF2-40B4-BE49-F238E27FC236}">
                <a16:creationId xmlns:a16="http://schemas.microsoft.com/office/drawing/2014/main" id="{D8EF3D0E-8E36-917F-4101-F2E0E0CA02E1}"/>
              </a:ext>
            </a:extLst>
          </p:cNvPr>
          <p:cNvSpPr/>
          <p:nvPr/>
        </p:nvSpPr>
        <p:spPr>
          <a:xfrm>
            <a:off x="-652646" y="356021"/>
            <a:ext cx="4582581" cy="538609"/>
          </a:xfrm>
          <a:custGeom>
            <a:avLst/>
            <a:gdLst/>
            <a:ahLst/>
            <a:cxnLst/>
            <a:rect l="l" t="t" r="r" b="b"/>
            <a:pathLst>
              <a:path w="6873872" h="162473">
                <a:moveTo>
                  <a:pt x="0" y="0"/>
                </a:moveTo>
                <a:lnTo>
                  <a:pt x="6873872" y="0"/>
                </a:lnTo>
                <a:lnTo>
                  <a:pt x="6873872" y="162473"/>
                </a:lnTo>
                <a:lnTo>
                  <a:pt x="0" y="16247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46FBDF-2D50-CCC1-B01E-AC81E366E2B5}"/>
              </a:ext>
            </a:extLst>
          </p:cNvPr>
          <p:cNvSpPr txBox="1">
            <a:spLocks/>
          </p:cNvSpPr>
          <p:nvPr/>
        </p:nvSpPr>
        <p:spPr>
          <a:xfrm>
            <a:off x="168651" y="417847"/>
            <a:ext cx="10173556" cy="610884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Cambria"/>
                <a:cs typeface="Calibri"/>
              </a:rPr>
              <a:t>Innovation Office Hours </a:t>
            </a:r>
            <a:endParaRPr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Cambri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147918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698088FC-D8A0-4798-8BB5-9B9CE9BC8D7B}"/>
              </a:ext>
            </a:extLst>
          </p:cNvPr>
          <p:cNvSpPr txBox="1"/>
          <p:nvPr/>
        </p:nvSpPr>
        <p:spPr>
          <a:xfrm>
            <a:off x="1194824" y="1641332"/>
            <a:ext cx="45174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US" sz="2000">
              <a:solidFill>
                <a:schemeClr val="bg1"/>
              </a:solidFill>
              <a:ea typeface="Roboto" panose="02000000000000000000" pitchFamily="2" charset="0"/>
              <a:cs typeface="Times New Roman" panose="02020603050405020304" pitchFamily="18" charset="0"/>
            </a:endParaRPr>
          </a:p>
        </p:txBody>
      </p:sp>
      <p:sp>
        <p:nvSpPr>
          <p:cNvPr id="9" name="Freeform 2">
            <a:extLst>
              <a:ext uri="{FF2B5EF4-FFF2-40B4-BE49-F238E27FC236}">
                <a16:creationId xmlns:a16="http://schemas.microsoft.com/office/drawing/2014/main" id="{D101B25F-8774-4419-B0A3-6B82B7A36F1A}"/>
              </a:ext>
            </a:extLst>
          </p:cNvPr>
          <p:cNvSpPr/>
          <p:nvPr/>
        </p:nvSpPr>
        <p:spPr>
          <a:xfrm flipV="1">
            <a:off x="-514350" y="843379"/>
            <a:ext cx="13220700" cy="4822544"/>
          </a:xfrm>
          <a:custGeom>
            <a:avLst/>
            <a:gdLst/>
            <a:ahLst/>
            <a:cxnLst/>
            <a:rect l="l" t="t" r="r" b="b"/>
            <a:pathLst>
              <a:path w="6873872" h="162473">
                <a:moveTo>
                  <a:pt x="0" y="0"/>
                </a:moveTo>
                <a:lnTo>
                  <a:pt x="6873872" y="0"/>
                </a:lnTo>
                <a:lnTo>
                  <a:pt x="6873872" y="162473"/>
                </a:lnTo>
                <a:lnTo>
                  <a:pt x="0" y="162473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476B1D-6611-4B1C-8DEC-30B9B18D32AE}"/>
              </a:ext>
            </a:extLst>
          </p:cNvPr>
          <p:cNvSpPr txBox="1"/>
          <p:nvPr/>
        </p:nvSpPr>
        <p:spPr>
          <a:xfrm>
            <a:off x="1130268" y="1251622"/>
            <a:ext cx="6508739" cy="415498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Let’s Connect!</a:t>
            </a:r>
          </a:p>
          <a:p>
            <a:endParaRPr lang="en-US" sz="2000" dirty="0">
              <a:solidFill>
                <a:schemeClr val="bg1"/>
              </a:solidFill>
              <a:ea typeface="Cambria"/>
              <a:cs typeface="Times New Roman"/>
            </a:endParaRPr>
          </a:p>
          <a:p>
            <a:r>
              <a:rPr lang="en-US" sz="3200" b="1" dirty="0">
                <a:solidFill>
                  <a:schemeClr val="bg1"/>
                </a:solidFill>
                <a:ea typeface="Cambria"/>
                <a:cs typeface="Times New Roman"/>
              </a:rPr>
              <a:t>Monika Athwal</a:t>
            </a:r>
          </a:p>
          <a:p>
            <a:r>
              <a:rPr lang="en-US" sz="3200" dirty="0">
                <a:solidFill>
                  <a:schemeClr val="bg1"/>
                </a:solidFill>
                <a:ea typeface="Cambria"/>
                <a:cs typeface="Times New Roman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nika.Athwal@njeda.gov</a:t>
            </a:r>
            <a:endParaRPr lang="en-US" sz="3200" dirty="0">
              <a:solidFill>
                <a:schemeClr val="bg1"/>
              </a:solidFill>
              <a:ea typeface="Cambria"/>
              <a:cs typeface="Times New Roman"/>
            </a:endParaRPr>
          </a:p>
          <a:p>
            <a:endParaRPr lang="en-US" sz="3200" b="1" dirty="0">
              <a:solidFill>
                <a:schemeClr val="bg1"/>
              </a:solidFill>
              <a:ea typeface="Cambria"/>
              <a:cs typeface="Times New Roman"/>
            </a:endParaRPr>
          </a:p>
          <a:p>
            <a:r>
              <a:rPr lang="en-US" sz="3200" b="1" dirty="0">
                <a:solidFill>
                  <a:schemeClr val="bg1"/>
                </a:solidFill>
                <a:ea typeface="Cambria"/>
                <a:cs typeface="Times New Roman"/>
              </a:rPr>
              <a:t>Judith Sheft</a:t>
            </a:r>
          </a:p>
          <a:p>
            <a:r>
              <a:rPr lang="en-US" sz="3200" dirty="0">
                <a:solidFill>
                  <a:schemeClr val="bg1"/>
                </a:solidFill>
                <a:ea typeface="Roboto" panose="02000000000000000000" pitchFamily="2" charset="0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sheft@njcsit.gov</a:t>
            </a:r>
            <a:r>
              <a:rPr lang="en-US" sz="3200" dirty="0">
                <a:solidFill>
                  <a:schemeClr val="bg1"/>
                </a:solidFill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</a:p>
          <a:p>
            <a:endParaRPr lang="en-US" sz="3200" b="1" dirty="0">
              <a:solidFill>
                <a:schemeClr val="bg1"/>
              </a:solidFill>
            </a:endParaRPr>
          </a:p>
          <a:p>
            <a:endParaRPr lang="en-US" sz="2000" b="1" i="0" dirty="0">
              <a:solidFill>
                <a:schemeClr val="bg1"/>
              </a:solidFill>
              <a:effectLst/>
              <a:ea typeface="Cambria"/>
              <a:cs typeface="Times New Roman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C5D2E5-4F23-49FA-8D38-711D03CBCB3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24067"/>
          <a:stretch/>
        </p:blipFill>
        <p:spPr>
          <a:xfrm>
            <a:off x="8060647" y="1731718"/>
            <a:ext cx="1896153" cy="183746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3ECE487-D0AB-415B-8589-FEDE121D7B5B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39007" y="3824641"/>
            <a:ext cx="843280" cy="80264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D757209-BE22-4465-A156-4B9546E64C7A}"/>
              </a:ext>
            </a:extLst>
          </p:cNvPr>
          <p:cNvPicPr>
            <a:picLocks noChangeAspect="1"/>
          </p:cNvPicPr>
          <p:nvPr/>
        </p:nvPicPr>
        <p:blipFill>
          <a:blip r:embed="rId10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751594" y="3918158"/>
            <a:ext cx="591111" cy="61560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30D744B-3FE6-47E2-AC87-6E61A75BFB95}"/>
              </a:ext>
            </a:extLst>
          </p:cNvPr>
          <p:cNvPicPr>
            <a:picLocks noChangeAspect="1"/>
          </p:cNvPicPr>
          <p:nvPr/>
        </p:nvPicPr>
        <p:blipFill>
          <a:blip r:embed="rId12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612012" y="3862104"/>
            <a:ext cx="735494" cy="67712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2EA4B38-9A08-4E04-839F-EED8AA2FB57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895879" y="5993919"/>
            <a:ext cx="1296121" cy="86408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B68F98A-7F9F-4BDE-BF92-505E55C444EE}"/>
              </a:ext>
            </a:extLst>
          </p:cNvPr>
          <p:cNvSpPr txBox="1"/>
          <p:nvPr/>
        </p:nvSpPr>
        <p:spPr>
          <a:xfrm>
            <a:off x="7841079" y="4729497"/>
            <a:ext cx="272544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chemeClr val="bg1"/>
                </a:solidFill>
                <a:ea typeface="Cambria" panose="02040503050406030204" pitchFamily="18" charset="0"/>
              </a:rPr>
              <a:t>@NewJerseyEDA</a:t>
            </a:r>
          </a:p>
        </p:txBody>
      </p:sp>
    </p:spTree>
    <p:extLst>
      <p:ext uri="{BB962C8B-B14F-4D97-AF65-F5344CB8AC3E}">
        <p14:creationId xmlns:p14="http://schemas.microsoft.com/office/powerpoint/2010/main" val="20269691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 r="21230" b="2123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oup 3"/>
          <p:cNvGrpSpPr/>
          <p:nvPr/>
        </p:nvGrpSpPr>
        <p:grpSpPr>
          <a:xfrm>
            <a:off x="-58960" y="-220262"/>
            <a:ext cx="12309920" cy="7078262"/>
            <a:chOff x="0" y="-38100"/>
            <a:chExt cx="4863178" cy="2796350"/>
          </a:xfrm>
        </p:grpSpPr>
        <p:sp>
          <p:nvSpPr>
            <p:cNvPr id="4" name="Freeform 4"/>
            <p:cNvSpPr/>
            <p:nvPr/>
          </p:nvSpPr>
          <p:spPr>
            <a:xfrm>
              <a:off x="0" y="48917"/>
              <a:ext cx="4863178" cy="2709333"/>
            </a:xfrm>
            <a:custGeom>
              <a:avLst/>
              <a:gdLst/>
              <a:ahLst/>
              <a:cxnLst/>
              <a:rect l="l" t="t" r="r" b="b"/>
              <a:pathLst>
                <a:path w="4863178" h="2709333">
                  <a:moveTo>
                    <a:pt x="0" y="0"/>
                  </a:moveTo>
                  <a:lnTo>
                    <a:pt x="4863178" y="0"/>
                  </a:lnTo>
                  <a:lnTo>
                    <a:pt x="4863178" y="2709333"/>
                  </a:lnTo>
                  <a:lnTo>
                    <a:pt x="0" y="2709333"/>
                  </a:lnTo>
                  <a:close/>
                </a:path>
              </a:pathLst>
            </a:custGeom>
            <a:solidFill>
              <a:srgbClr val="0A4F70">
                <a:alpha val="42745"/>
              </a:srgbClr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ct val="175859"/>
                </a:lnSpc>
              </a:pPr>
              <a:endParaRPr lang="en-US" sz="1200">
                <a:solidFill>
                  <a:schemeClr val="bg2"/>
                </a:solidFill>
                <a:cs typeface="Times New Roman" panose="02020603050405020304" pitchFamily="18" charset="0"/>
              </a:endParaRPr>
            </a:p>
          </p:txBody>
        </p:sp>
      </p:grpSp>
      <p:pic>
        <p:nvPicPr>
          <p:cNvPr id="6" name="Picture 6"/>
          <p:cNvPicPr>
            <a:picLocks noChangeAspect="1"/>
          </p:cNvPicPr>
          <p:nvPr/>
        </p:nvPicPr>
        <p:blipFill>
          <a:blip r:embed="rId3">
            <a:alphaModFix amt="90000"/>
          </a:blip>
          <a:srcRect t="19168" b="19168"/>
          <a:stretch>
            <a:fillRect/>
          </a:stretch>
        </p:blipFill>
        <p:spPr>
          <a:xfrm>
            <a:off x="685800" y="369848"/>
            <a:ext cx="10820400" cy="611830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98088FC-D8A0-4798-8BB5-9B9CE9BC8D7B}"/>
              </a:ext>
            </a:extLst>
          </p:cNvPr>
          <p:cNvSpPr txBox="1"/>
          <p:nvPr/>
        </p:nvSpPr>
        <p:spPr>
          <a:xfrm>
            <a:off x="1194824" y="1641332"/>
            <a:ext cx="45174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US" sz="2000" dirty="0">
              <a:solidFill>
                <a:schemeClr val="bg2"/>
              </a:solidFill>
              <a:ea typeface="Roboto" panose="02000000000000000000" pitchFamily="2" charset="0"/>
              <a:cs typeface="Times New Roman" panose="020206030504050203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B048AAE-3FC9-4E6C-31FF-9E212C21CE3D}"/>
              </a:ext>
            </a:extLst>
          </p:cNvPr>
          <p:cNvSpPr txBox="1"/>
          <p:nvPr/>
        </p:nvSpPr>
        <p:spPr>
          <a:xfrm>
            <a:off x="1230385" y="2262014"/>
            <a:ext cx="9731230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i="1" dirty="0">
                <a:solidFill>
                  <a:schemeClr val="bg1"/>
                </a:solidFill>
                <a:ea typeface="Cambria" panose="02040503050406030204" pitchFamily="18" charset="0"/>
                <a:cs typeface="Calibri" panose="020F0502020204030204" pitchFamily="34" charset="0"/>
              </a:rPr>
              <a:t>NJEDA</a:t>
            </a:r>
            <a:r>
              <a:rPr lang="en-US" sz="4000" i="1" dirty="0">
                <a:solidFill>
                  <a:schemeClr val="bg1"/>
                </a:solidFill>
                <a:ea typeface="Cambria" panose="02040503050406030204" pitchFamily="18" charset="0"/>
                <a:cs typeface="Calibri" panose="020F0502020204030204" pitchFamily="34" charset="0"/>
              </a:rPr>
              <a:t> provides a suite of financing and incentive products tailored to support NJ’s Startups and grow NJ’s Innovation Economy </a:t>
            </a:r>
          </a:p>
          <a:p>
            <a:pPr algn="ctr"/>
            <a:endParaRPr lang="en-US" sz="4000" i="1" dirty="0">
              <a:solidFill>
                <a:schemeClr val="bg1"/>
              </a:solidFill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30320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46FBDF-2D50-CCC1-B01E-AC81E366E2B5}"/>
              </a:ext>
            </a:extLst>
          </p:cNvPr>
          <p:cNvSpPr txBox="1">
            <a:spLocks/>
          </p:cNvSpPr>
          <p:nvPr/>
        </p:nvSpPr>
        <p:spPr>
          <a:xfrm>
            <a:off x="331044" y="230529"/>
            <a:ext cx="10173556" cy="610884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  <a:defRPr/>
            </a:pPr>
            <a:r>
              <a:rPr kumimoji="0" lang="en-US" sz="2800" b="1" i="0" strike="noStrike" kern="1200" cap="none" spc="0" normalizeH="0" baseline="0" noProof="0" dirty="0">
                <a:ln>
                  <a:noFill/>
                </a:ln>
                <a:solidFill>
                  <a:srgbClr val="00597C"/>
                </a:solidFill>
                <a:effectLst/>
                <a:uLnTx/>
                <a:uFillTx/>
                <a:latin typeface="+mn-lt"/>
                <a:ea typeface="Cambria"/>
                <a:cs typeface="+mj-cs"/>
              </a:rPr>
              <a:t>Technology Innovation Team</a:t>
            </a:r>
            <a:endParaRPr lang="en-US" sz="2800" b="1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Cambria"/>
              <a:cs typeface="Segoe UI Semilight" panose="020B0402040204020203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7E29DFD-D4C0-F461-438A-C559C7E14629}"/>
              </a:ext>
            </a:extLst>
          </p:cNvPr>
          <p:cNvCxnSpPr>
            <a:cxnSpLocks/>
          </p:cNvCxnSpPr>
          <p:nvPr/>
        </p:nvCxnSpPr>
        <p:spPr>
          <a:xfrm>
            <a:off x="410697" y="965723"/>
            <a:ext cx="11245346" cy="0"/>
          </a:xfrm>
          <a:prstGeom prst="line">
            <a:avLst/>
          </a:prstGeom>
          <a:ln w="19050">
            <a:solidFill>
              <a:srgbClr val="84BE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" name="Triangle 3">
            <a:extLst>
              <a:ext uri="{FF2B5EF4-FFF2-40B4-BE49-F238E27FC236}">
                <a16:creationId xmlns:a16="http://schemas.microsoft.com/office/drawing/2014/main" id="{8592E01B-D2B2-B045-66F6-5E91027C1D2D}"/>
              </a:ext>
            </a:extLst>
          </p:cNvPr>
          <p:cNvSpPr/>
          <p:nvPr/>
        </p:nvSpPr>
        <p:spPr>
          <a:xfrm rot="16200000">
            <a:off x="8882225" y="-2108045"/>
            <a:ext cx="1201729" cy="5417820"/>
          </a:xfrm>
          <a:prstGeom prst="triangle">
            <a:avLst>
              <a:gd name="adj" fmla="val 100000"/>
            </a:avLst>
          </a:prstGeom>
          <a:solidFill>
            <a:srgbClr val="84BE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2EDE1E0-9873-2870-8477-0EA9B3BD87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04600" y="5770748"/>
            <a:ext cx="1648911" cy="109927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1C63217-5FE6-6863-3E54-CECEDDF8C959}"/>
              </a:ext>
            </a:extLst>
          </p:cNvPr>
          <p:cNvSpPr txBox="1"/>
          <p:nvPr/>
        </p:nvSpPr>
        <p:spPr>
          <a:xfrm>
            <a:off x="38489" y="628800"/>
            <a:ext cx="8682031" cy="7685829"/>
          </a:xfrm>
          <a:prstGeom prst="snip2DiagRect">
            <a:avLst/>
          </a:prstGeom>
          <a:noFill/>
          <a:ln w="12700">
            <a:noFill/>
          </a:ln>
        </p:spPr>
        <p:txBody>
          <a:bodyPr wrap="square" lIns="91440" tIns="45720" rIns="91440" bIns="45720" rtlCol="0" anchor="t">
            <a:noAutofit/>
          </a:bodyPr>
          <a:lstStyle/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  <a:defRPr/>
            </a:pPr>
            <a:r>
              <a:rPr lang="en-US" sz="2000" dirty="0">
                <a:solidFill>
                  <a:prstClr val="black"/>
                </a:solidFill>
                <a:ea typeface="Cambria"/>
              </a:rPr>
              <a:t>Cecily Kovatch – Managing Director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Cambri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84BE00"/>
              </a:buClr>
              <a:buSzTx/>
              <a:buFont typeface="System Font Regular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Cambria"/>
                <a:cs typeface="+mn-cs"/>
              </a:rPr>
              <a:t>Clark Smith – Director 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84BE00"/>
              </a:buClr>
              <a:buSzTx/>
              <a:buFont typeface="System Font Regular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Cambria"/>
                <a:cs typeface="+mn-cs"/>
              </a:rPr>
              <a:t>Monika Athwal – Manager</a:t>
            </a:r>
            <a:endParaRPr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Cambria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84BE00"/>
              </a:buClr>
              <a:buSzTx/>
              <a:buFont typeface="System Font Regular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Cambria"/>
                <a:cs typeface="+mn-cs"/>
              </a:rPr>
              <a:t>Sara Cadeddu – Senior Officer</a:t>
            </a:r>
            <a:endParaRPr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Cambria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84BE00"/>
              </a:buClr>
              <a:buSzTx/>
              <a:buFont typeface="System Font Regular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Cambria"/>
                <a:cs typeface="+mn-cs"/>
              </a:rPr>
              <a:t>Christopher Shyers – Senior Officer</a:t>
            </a:r>
            <a:endParaRPr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Cambria"/>
              <a:cs typeface="Calibri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8C25607-ED61-DF5F-89C3-6F328CEC7D11}"/>
              </a:ext>
            </a:extLst>
          </p:cNvPr>
          <p:cNvSpPr txBox="1"/>
          <p:nvPr/>
        </p:nvSpPr>
        <p:spPr>
          <a:xfrm>
            <a:off x="5793614" y="1338162"/>
            <a:ext cx="6120141" cy="224676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  <a:defRPr/>
            </a:pPr>
            <a:r>
              <a:rPr lang="en-US" sz="2000" dirty="0">
                <a:solidFill>
                  <a:prstClr val="black"/>
                </a:solidFill>
                <a:ea typeface="Cambria"/>
              </a:rPr>
              <a:t>Fariha Sheikh – Analyst</a:t>
            </a:r>
            <a:endParaRPr lang="en-US" sz="2000" dirty="0">
              <a:solidFill>
                <a:prstClr val="black"/>
              </a:solidFill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  <a:defRPr/>
            </a:pPr>
            <a:r>
              <a:rPr lang="en-US" sz="2000" dirty="0">
                <a:solidFill>
                  <a:prstClr val="black"/>
                </a:solidFill>
                <a:ea typeface="Cambria"/>
              </a:rPr>
              <a:t>Abdelrhman Seliman – Analyst</a:t>
            </a: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  <a:defRPr/>
            </a:pPr>
            <a:r>
              <a:rPr lang="en-US" sz="2000" dirty="0">
                <a:solidFill>
                  <a:prstClr val="black"/>
                </a:solidFill>
                <a:ea typeface="Cambria"/>
              </a:rPr>
              <a:t>Daniela Diaz – Analyst</a:t>
            </a:r>
            <a:endParaRPr lang="en-US" sz="2000" dirty="0">
              <a:solidFill>
                <a:prstClr val="black"/>
              </a:solidFill>
              <a:ea typeface="Calibri"/>
              <a:cs typeface="Calibri"/>
            </a:endParaRP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  <a:defRPr/>
            </a:pPr>
            <a:r>
              <a:rPr lang="en-US" sz="2000" dirty="0">
                <a:solidFill>
                  <a:prstClr val="black"/>
                </a:solidFill>
                <a:ea typeface="Cambria"/>
              </a:rPr>
              <a:t>Syed Fatmi – PT Intern </a:t>
            </a:r>
            <a:endParaRPr lang="en-US" sz="2000" dirty="0">
              <a:solidFill>
                <a:prstClr val="black"/>
              </a:solidFill>
              <a:ea typeface="Calibri"/>
              <a:cs typeface="Calibri"/>
            </a:endParaRPr>
          </a:p>
          <a:p>
            <a:pPr marR="0" lvl="0" algn="l" defTabSz="914400">
              <a:spcBef>
                <a:spcPts val="0"/>
              </a:spcBef>
              <a:spcAft>
                <a:spcPts val="0"/>
              </a:spcAft>
              <a:buSzTx/>
              <a:tabLst/>
              <a:defRPr/>
            </a:pPr>
            <a:endParaRPr lang="en-US" sz="2000" dirty="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41300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46FBDF-2D50-CCC1-B01E-AC81E366E2B5}"/>
              </a:ext>
            </a:extLst>
          </p:cNvPr>
          <p:cNvSpPr txBox="1">
            <a:spLocks/>
          </p:cNvSpPr>
          <p:nvPr/>
        </p:nvSpPr>
        <p:spPr>
          <a:xfrm>
            <a:off x="79652" y="385883"/>
            <a:ext cx="10173556" cy="610884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rgbClr val="00597C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Featured Products for Life Sciences &amp; Biotech Companies</a:t>
            </a:r>
            <a:endParaRPr lang="en-US" sz="3200" dirty="0">
              <a:solidFill>
                <a:srgbClr val="00597C"/>
              </a:solidFill>
              <a:latin typeface="Calibri" panose="020F0502020204030204" pitchFamily="34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7E29DFD-D4C0-F461-438A-C559C7E14629}"/>
              </a:ext>
            </a:extLst>
          </p:cNvPr>
          <p:cNvCxnSpPr>
            <a:cxnSpLocks/>
          </p:cNvCxnSpPr>
          <p:nvPr/>
        </p:nvCxnSpPr>
        <p:spPr>
          <a:xfrm>
            <a:off x="410697" y="965723"/>
            <a:ext cx="11245346" cy="0"/>
          </a:xfrm>
          <a:prstGeom prst="line">
            <a:avLst/>
          </a:prstGeom>
          <a:ln w="19050">
            <a:solidFill>
              <a:srgbClr val="84BE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" name="Triangle 3">
            <a:extLst>
              <a:ext uri="{FF2B5EF4-FFF2-40B4-BE49-F238E27FC236}">
                <a16:creationId xmlns:a16="http://schemas.microsoft.com/office/drawing/2014/main" id="{8592E01B-D2B2-B045-66F6-5E91027C1D2D}"/>
              </a:ext>
            </a:extLst>
          </p:cNvPr>
          <p:cNvSpPr/>
          <p:nvPr/>
        </p:nvSpPr>
        <p:spPr>
          <a:xfrm rot="16200000">
            <a:off x="9301675" y="-2201688"/>
            <a:ext cx="1201729" cy="5417820"/>
          </a:xfrm>
          <a:prstGeom prst="triangle">
            <a:avLst>
              <a:gd name="adj" fmla="val 100000"/>
            </a:avLst>
          </a:prstGeom>
          <a:solidFill>
            <a:srgbClr val="84BE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108E17-0899-B655-AADD-4E10D82561B9}"/>
              </a:ext>
            </a:extLst>
          </p:cNvPr>
          <p:cNvSpPr txBox="1"/>
          <p:nvPr/>
        </p:nvSpPr>
        <p:spPr>
          <a:xfrm>
            <a:off x="291357" y="385883"/>
            <a:ext cx="11609285" cy="4812459"/>
          </a:xfrm>
          <a:prstGeom prst="snip2DiagRect">
            <a:avLst>
              <a:gd name="adj1" fmla="val 0"/>
              <a:gd name="adj2" fmla="val 16667"/>
            </a:avLst>
          </a:prstGeom>
          <a:noFill/>
          <a:ln w="12700">
            <a:noFill/>
          </a:ln>
        </p:spPr>
        <p:txBody>
          <a:bodyPr wrap="square" rtlCol="0">
            <a:noAutofit/>
          </a:bodyPr>
          <a:lstStyle/>
          <a:p>
            <a:endParaRPr lang="en-US" sz="2800" b="1" i="0" u="none" strike="noStrike" baseline="0" dirty="0">
              <a:solidFill>
                <a:srgbClr val="333333"/>
              </a:solidFill>
              <a:latin typeface="Calibri" panose="020F0502020204030204" pitchFamily="34" charset="0"/>
              <a:ea typeface="Cambria" panose="02040503050406030204" pitchFamily="18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200" b="1" dirty="0">
                <a:solidFill>
                  <a:srgbClr val="333333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Angel Match </a:t>
            </a:r>
            <a:r>
              <a:rPr lang="en-US" sz="2200" dirty="0">
                <a:solidFill>
                  <a:srgbClr val="333333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– </a:t>
            </a:r>
            <a:r>
              <a:rPr lang="en-US" sz="2200" dirty="0">
                <a:solidFill>
                  <a:schemeClr val="accent1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Dilutive direct investment</a:t>
            </a: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200" b="1" dirty="0">
                <a:solidFill>
                  <a:srgbClr val="333333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Technology Business Tax Certificate Transfer (NOL) </a:t>
            </a:r>
            <a:r>
              <a:rPr lang="en-US" sz="2200" dirty="0">
                <a:solidFill>
                  <a:srgbClr val="333333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– </a:t>
            </a:r>
            <a:r>
              <a:rPr lang="en-US" sz="2200" dirty="0">
                <a:solidFill>
                  <a:schemeClr val="accent1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Non-dilutive capital</a:t>
            </a: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200" b="1" dirty="0">
                <a:solidFill>
                  <a:srgbClr val="333333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Angel Investor Tax Credit (ATC) </a:t>
            </a:r>
            <a:r>
              <a:rPr lang="en-US" sz="2200" dirty="0">
                <a:solidFill>
                  <a:srgbClr val="333333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– </a:t>
            </a:r>
            <a:r>
              <a:rPr lang="en-US" sz="2200" dirty="0">
                <a:solidFill>
                  <a:schemeClr val="accent1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Refundable tax credit</a:t>
            </a: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200" b="1" dirty="0">
                <a:solidFill>
                  <a:srgbClr val="333333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NJ Entrepreneur Support Program </a:t>
            </a:r>
            <a:r>
              <a:rPr lang="en-US" sz="2200" dirty="0">
                <a:solidFill>
                  <a:srgbClr val="333333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– </a:t>
            </a:r>
            <a:r>
              <a:rPr lang="en-US" sz="2200" dirty="0">
                <a:solidFill>
                  <a:schemeClr val="accent1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Guarantee for investors</a:t>
            </a: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200" b="1" dirty="0">
                <a:solidFill>
                  <a:srgbClr val="333333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NJ Founders &amp; Funders</a:t>
            </a:r>
            <a:r>
              <a:rPr lang="en-US" sz="2200" dirty="0">
                <a:solidFill>
                  <a:srgbClr val="333333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 – </a:t>
            </a:r>
            <a:r>
              <a:rPr lang="en-US" sz="2200" dirty="0">
                <a:solidFill>
                  <a:schemeClr val="accent1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Warm intros with investors</a:t>
            </a: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200" b="1" dirty="0">
                <a:solidFill>
                  <a:srgbClr val="333333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NJ Innovation Evergreen Fund</a:t>
            </a:r>
            <a:r>
              <a:rPr lang="en-US" sz="2200" dirty="0">
                <a:solidFill>
                  <a:srgbClr val="333333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 – </a:t>
            </a:r>
            <a:r>
              <a:rPr lang="en-US" sz="2200" dirty="0">
                <a:solidFill>
                  <a:schemeClr val="accent1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Co-investment with qualified VCs</a:t>
            </a:r>
            <a:endParaRPr lang="en-US" sz="2200" b="1" dirty="0">
              <a:solidFill>
                <a:schemeClr val="accent1"/>
              </a:solidFill>
              <a:latin typeface="Calibri" panose="020F0502020204030204" pitchFamily="34" charset="0"/>
              <a:ea typeface="Cambria" panose="02040503050406030204" pitchFamily="18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200" b="1" dirty="0">
                <a:solidFill>
                  <a:srgbClr val="333333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Venture Funds</a:t>
            </a:r>
            <a:r>
              <a:rPr lang="en-US" sz="2200" dirty="0">
                <a:solidFill>
                  <a:srgbClr val="333333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 – </a:t>
            </a:r>
            <a:r>
              <a:rPr lang="en-US" sz="2200" dirty="0">
                <a:solidFill>
                  <a:schemeClr val="accent1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Affinity funds with specific focus</a:t>
            </a: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200" b="1" dirty="0">
                <a:solidFill>
                  <a:srgbClr val="333333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Golden Seeds</a:t>
            </a:r>
            <a:r>
              <a:rPr lang="en-US" sz="2200" dirty="0">
                <a:solidFill>
                  <a:srgbClr val="333333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 – </a:t>
            </a:r>
            <a:r>
              <a:rPr lang="en-US" sz="2200" dirty="0">
                <a:solidFill>
                  <a:schemeClr val="accent1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Angel investments for women-led companies</a:t>
            </a: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200" b="1" dirty="0">
                <a:solidFill>
                  <a:srgbClr val="333333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CSIT</a:t>
            </a:r>
            <a:r>
              <a:rPr lang="en-US" sz="2200" dirty="0">
                <a:solidFill>
                  <a:srgbClr val="333333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 – </a:t>
            </a:r>
            <a:r>
              <a:rPr lang="en-US" sz="2200" dirty="0">
                <a:solidFill>
                  <a:schemeClr val="accent1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R&amp;D grants &amp; vouchers </a:t>
            </a:r>
            <a:endParaRPr lang="en-US" sz="2200" b="1" dirty="0">
              <a:solidFill>
                <a:schemeClr val="accent1"/>
              </a:solidFill>
              <a:latin typeface="Calibri" panose="020F0502020204030204" pitchFamily="34" charset="0"/>
              <a:ea typeface="Cambria" panose="02040503050406030204" pitchFamily="18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  <a:buClr>
                <a:srgbClr val="84BE00"/>
              </a:buClr>
            </a:pPr>
            <a:endParaRPr lang="en-US" sz="2800" dirty="0">
              <a:solidFill>
                <a:srgbClr val="333333"/>
              </a:solidFill>
              <a:latin typeface="Calibri" panose="020F0502020204030204" pitchFamily="34" charset="0"/>
              <a:ea typeface="Cambria" panose="02040503050406030204" pitchFamily="18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endParaRPr lang="en-US" sz="2800" dirty="0">
              <a:solidFill>
                <a:srgbClr val="333333"/>
              </a:solidFill>
              <a:latin typeface="Calibri" panose="020F0502020204030204" pitchFamily="34" charset="0"/>
              <a:ea typeface="Cambria" panose="02040503050406030204" pitchFamily="18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  <a:buClr>
                <a:srgbClr val="84BE00"/>
              </a:buClr>
            </a:pPr>
            <a:r>
              <a:rPr lang="en-US" sz="2800" dirty="0">
                <a:solidFill>
                  <a:srgbClr val="333333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 </a:t>
            </a: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endParaRPr lang="en-US" sz="2800" dirty="0">
              <a:solidFill>
                <a:srgbClr val="333333"/>
              </a:solidFill>
              <a:latin typeface="Calibri" panose="020F0502020204030204" pitchFamily="34" charset="0"/>
              <a:ea typeface="Cambria" panose="02040503050406030204" pitchFamily="18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endParaRPr lang="en-US" sz="2800" dirty="0">
              <a:solidFill>
                <a:srgbClr val="333333"/>
              </a:solidFill>
              <a:latin typeface="Calibri" panose="020F0502020204030204" pitchFamily="34" charset="0"/>
              <a:ea typeface="Cambria" panose="02040503050406030204" pitchFamily="18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800" dirty="0">
              <a:solidFill>
                <a:srgbClr val="333333"/>
              </a:solidFill>
              <a:latin typeface="Calibri" panose="020F0502020204030204" pitchFamily="34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2EDE1E0-9873-2870-8477-0EA9B3BD87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404" y="5492387"/>
            <a:ext cx="1648911" cy="1099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6547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46FBDF-2D50-CCC1-B01E-AC81E366E2B5}"/>
              </a:ext>
            </a:extLst>
          </p:cNvPr>
          <p:cNvSpPr txBox="1">
            <a:spLocks/>
          </p:cNvSpPr>
          <p:nvPr/>
        </p:nvSpPr>
        <p:spPr>
          <a:xfrm>
            <a:off x="328333" y="582500"/>
            <a:ext cx="8368819" cy="610884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597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gel Match Program</a:t>
            </a:r>
            <a:endParaRPr lang="en-US" sz="2800" dirty="0">
              <a:solidFill>
                <a:srgbClr val="00597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7E29DFD-D4C0-F461-438A-C559C7E14629}"/>
              </a:ext>
            </a:extLst>
          </p:cNvPr>
          <p:cNvCxnSpPr>
            <a:cxnSpLocks/>
          </p:cNvCxnSpPr>
          <p:nvPr/>
        </p:nvCxnSpPr>
        <p:spPr>
          <a:xfrm>
            <a:off x="328333" y="1201730"/>
            <a:ext cx="11863667" cy="0"/>
          </a:xfrm>
          <a:prstGeom prst="line">
            <a:avLst/>
          </a:prstGeom>
          <a:ln w="19050">
            <a:solidFill>
              <a:srgbClr val="84BE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" name="Triangle 3">
            <a:extLst>
              <a:ext uri="{FF2B5EF4-FFF2-40B4-BE49-F238E27FC236}">
                <a16:creationId xmlns:a16="http://schemas.microsoft.com/office/drawing/2014/main" id="{8592E01B-D2B2-B045-66F6-5E91027C1D2D}"/>
              </a:ext>
            </a:extLst>
          </p:cNvPr>
          <p:cNvSpPr/>
          <p:nvPr/>
        </p:nvSpPr>
        <p:spPr>
          <a:xfrm rot="16200000">
            <a:off x="8882225" y="-2108045"/>
            <a:ext cx="1201729" cy="5417820"/>
          </a:xfrm>
          <a:prstGeom prst="triangle">
            <a:avLst>
              <a:gd name="adj" fmla="val 100000"/>
            </a:avLst>
          </a:prstGeom>
          <a:solidFill>
            <a:srgbClr val="84BE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C63217-5FE6-6863-3E54-CECEDDF8C959}"/>
              </a:ext>
            </a:extLst>
          </p:cNvPr>
          <p:cNvSpPr txBox="1"/>
          <p:nvPr/>
        </p:nvSpPr>
        <p:spPr>
          <a:xfrm>
            <a:off x="164167" y="1218329"/>
            <a:ext cx="11863666" cy="1155183"/>
          </a:xfrm>
          <a:prstGeom prst="snip2Diag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Cambria"/>
                <a:cs typeface="Calibri" panose="020F0502020204030204" pitchFamily="34" charset="0"/>
              </a:rPr>
              <a:t>NJEDA matches preferred equity investment in early-stage, product-based technology companies, with a direct investment up to $500,000.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9FD2B13-5EA6-BE2E-B3C3-F6067A6238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404" y="5492387"/>
            <a:ext cx="1648911" cy="109927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3259948-F235-46BD-86DB-5D4FC24A07FF}"/>
              </a:ext>
            </a:extLst>
          </p:cNvPr>
          <p:cNvSpPr txBox="1"/>
          <p:nvPr/>
        </p:nvSpPr>
        <p:spPr>
          <a:xfrm>
            <a:off x="2990569" y="1942249"/>
            <a:ext cx="7567220" cy="45652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Note terms</a:t>
            </a:r>
          </a:p>
          <a:p>
            <a:pPr marL="742950" lvl="1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10-year, 3% interest rate</a:t>
            </a:r>
          </a:p>
          <a:p>
            <a:pPr marL="742950" lvl="1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No payments for first 7 years, no prepayment penalty</a:t>
            </a:r>
          </a:p>
          <a:p>
            <a:pPr marL="742950" lvl="1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10-year </a:t>
            </a:r>
            <a:r>
              <a:rPr lang="en-US" sz="2000" dirty="0"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Warrant equal to 50% of note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Angels &amp; Funds eligible – min of 2 investors, preferred equity</a:t>
            </a: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Product based sales revenue – Min $100K</a:t>
            </a: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50% FT Employees &amp; 2 Founders working in NJ</a:t>
            </a: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NJ Office (co-working, incubator or leased)</a:t>
            </a:r>
          </a:p>
          <a:p>
            <a:pPr marL="285750" indent="-285750" algn="l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Right Triangle 19">
            <a:extLst>
              <a:ext uri="{FF2B5EF4-FFF2-40B4-BE49-F238E27FC236}">
                <a16:creationId xmlns:a16="http://schemas.microsoft.com/office/drawing/2014/main" id="{424AA59B-0CA3-4936-970D-0812E84E19BB}"/>
              </a:ext>
            </a:extLst>
          </p:cNvPr>
          <p:cNvSpPr/>
          <p:nvPr/>
        </p:nvSpPr>
        <p:spPr>
          <a:xfrm rot="13408962">
            <a:off x="-1965298" y="2588678"/>
            <a:ext cx="3503303" cy="3703696"/>
          </a:xfrm>
          <a:prstGeom prst="rtTriangle">
            <a:avLst/>
          </a:prstGeom>
          <a:solidFill>
            <a:srgbClr val="84BE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A71CAA0-6239-4956-8B74-BB20003BFF63}"/>
              </a:ext>
            </a:extLst>
          </p:cNvPr>
          <p:cNvSpPr txBox="1"/>
          <p:nvPr/>
        </p:nvSpPr>
        <p:spPr>
          <a:xfrm>
            <a:off x="244629" y="6422080"/>
            <a:ext cx="29427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www.njeda.gov/AngelMatch/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13007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638AE9-249B-B403-D791-7C7D3E7CD6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1441" y="79702"/>
            <a:ext cx="4051738" cy="97160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b="1" kern="1200" dirty="0">
                <a:solidFill>
                  <a:srgbClr val="00597C"/>
                </a:solidFill>
                <a:latin typeface="Calibri body"/>
                <a:ea typeface="Calibri"/>
                <a:cs typeface="Calibri"/>
              </a:rPr>
              <a:t>Angel Match Compani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1F7C22E-8668-A6AA-4BE0-874AC2CD4C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5520" y="1845426"/>
            <a:ext cx="7177907" cy="4450303"/>
          </a:xfrm>
          <a:prstGeom prst="rect">
            <a:avLst/>
          </a:prstGeom>
        </p:spPr>
      </p:pic>
      <p:sp>
        <p:nvSpPr>
          <p:cNvPr id="10" name="Triangle 3">
            <a:extLst>
              <a:ext uri="{FF2B5EF4-FFF2-40B4-BE49-F238E27FC236}">
                <a16:creationId xmlns:a16="http://schemas.microsoft.com/office/drawing/2014/main" id="{41260F3D-7A38-9A6A-C2D5-16A208D54AD9}"/>
              </a:ext>
            </a:extLst>
          </p:cNvPr>
          <p:cNvSpPr/>
          <p:nvPr/>
        </p:nvSpPr>
        <p:spPr>
          <a:xfrm rot="16200000">
            <a:off x="8882225" y="-2108045"/>
            <a:ext cx="1201729" cy="5417820"/>
          </a:xfrm>
          <a:prstGeom prst="triangle">
            <a:avLst>
              <a:gd name="adj" fmla="val 100000"/>
            </a:avLst>
          </a:prstGeom>
          <a:solidFill>
            <a:srgbClr val="84BE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45CFE5-EB75-20D0-7E52-BDCC41052DCD}"/>
              </a:ext>
            </a:extLst>
          </p:cNvPr>
          <p:cNvCxnSpPr>
            <a:cxnSpLocks/>
          </p:cNvCxnSpPr>
          <p:nvPr/>
        </p:nvCxnSpPr>
        <p:spPr>
          <a:xfrm>
            <a:off x="410697" y="965723"/>
            <a:ext cx="11245346" cy="0"/>
          </a:xfrm>
          <a:prstGeom prst="line">
            <a:avLst/>
          </a:prstGeom>
          <a:ln w="19050">
            <a:solidFill>
              <a:srgbClr val="84BE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91669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46FBDF-2D50-CCC1-B01E-AC81E366E2B5}"/>
              </a:ext>
            </a:extLst>
          </p:cNvPr>
          <p:cNvSpPr txBox="1">
            <a:spLocks/>
          </p:cNvSpPr>
          <p:nvPr/>
        </p:nvSpPr>
        <p:spPr>
          <a:xfrm>
            <a:off x="268488" y="631939"/>
            <a:ext cx="10206750" cy="610884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597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nology Business Tax Certificate Transfer (NOL)</a:t>
            </a:r>
            <a:endParaRPr lang="en-US" sz="2800" dirty="0">
              <a:solidFill>
                <a:srgbClr val="00597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7E29DFD-D4C0-F461-438A-C559C7E14629}"/>
              </a:ext>
            </a:extLst>
          </p:cNvPr>
          <p:cNvCxnSpPr>
            <a:cxnSpLocks/>
          </p:cNvCxnSpPr>
          <p:nvPr/>
        </p:nvCxnSpPr>
        <p:spPr>
          <a:xfrm>
            <a:off x="328333" y="1201730"/>
            <a:ext cx="11863667" cy="0"/>
          </a:xfrm>
          <a:prstGeom prst="line">
            <a:avLst/>
          </a:prstGeom>
          <a:ln w="19050">
            <a:solidFill>
              <a:srgbClr val="84BE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" name="Triangle 3">
            <a:extLst>
              <a:ext uri="{FF2B5EF4-FFF2-40B4-BE49-F238E27FC236}">
                <a16:creationId xmlns:a16="http://schemas.microsoft.com/office/drawing/2014/main" id="{8592E01B-D2B2-B045-66F6-5E91027C1D2D}"/>
              </a:ext>
            </a:extLst>
          </p:cNvPr>
          <p:cNvSpPr/>
          <p:nvPr/>
        </p:nvSpPr>
        <p:spPr>
          <a:xfrm rot="16200000">
            <a:off x="8882225" y="-2108045"/>
            <a:ext cx="1201729" cy="5417820"/>
          </a:xfrm>
          <a:prstGeom prst="triangle">
            <a:avLst>
              <a:gd name="adj" fmla="val 100000"/>
            </a:avLst>
          </a:prstGeom>
          <a:solidFill>
            <a:srgbClr val="84BE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C63217-5FE6-6863-3E54-CECEDDF8C959}"/>
              </a:ext>
            </a:extLst>
          </p:cNvPr>
          <p:cNvSpPr txBox="1"/>
          <p:nvPr/>
        </p:nvSpPr>
        <p:spPr>
          <a:xfrm>
            <a:off x="112650" y="1201730"/>
            <a:ext cx="12079349" cy="1212116"/>
          </a:xfrm>
          <a:prstGeom prst="snip2Diag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defTabSz="932962" fontAlgn="base">
              <a:spcBef>
                <a:spcPct val="0"/>
              </a:spcBef>
              <a:tabLst>
                <a:tab pos="1371594" algn="l"/>
              </a:tabLst>
            </a:pPr>
            <a:endParaRPr lang="en-US" sz="2000" b="1" dirty="0">
              <a:solidFill>
                <a:srgbClr val="00597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32962" fontAlgn="base">
              <a:spcBef>
                <a:spcPct val="0"/>
              </a:spcBef>
              <a:tabLst>
                <a:tab pos="1371594" algn="l"/>
              </a:tabLst>
            </a:pPr>
            <a:r>
              <a:rPr lang="en-US" sz="2000" dirty="0">
                <a:solidFill>
                  <a:srgbClr val="00597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ables emerging companies running at an operating loss to sell a percentage of accrued losses to unrelated corporations as a tax credit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108E17-0899-B655-AADD-4E10D82561B9}"/>
              </a:ext>
            </a:extLst>
          </p:cNvPr>
          <p:cNvSpPr txBox="1"/>
          <p:nvPr/>
        </p:nvSpPr>
        <p:spPr>
          <a:xfrm>
            <a:off x="5371863" y="2135216"/>
            <a:ext cx="5838738" cy="3909992"/>
          </a:xfrm>
          <a:prstGeom prst="snip2DiagRect">
            <a:avLst>
              <a:gd name="adj1" fmla="val 0"/>
              <a:gd name="adj2" fmla="val 16667"/>
            </a:avLst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Protected Proprietary Intellectual Property</a:t>
            </a:r>
          </a:p>
          <a:p>
            <a:pPr marL="285750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Technology or Biotechnology </a:t>
            </a:r>
          </a:p>
          <a:p>
            <a:pPr marL="285750" indent="-285750" algn="l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At least 1/5/10 NJ FTE (but no PA)</a:t>
            </a:r>
          </a:p>
          <a:p>
            <a:pPr marL="285750" indent="-285750" algn="l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No more than 224 FTE (in the US)</a:t>
            </a:r>
          </a:p>
          <a:p>
            <a:pPr marL="285750" indent="-285750" algn="l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2 Consecutive years of operating losses</a:t>
            </a:r>
          </a:p>
          <a:p>
            <a:pPr marL="285750" indent="-285750" algn="l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Eligibility must be met at time of application and clos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9FD2B13-5EA6-BE2E-B3C3-F6067A6238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404" y="5492387"/>
            <a:ext cx="1648911" cy="109927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DB966D8-412C-4DCD-8FDD-882FA0010237}"/>
              </a:ext>
            </a:extLst>
          </p:cNvPr>
          <p:cNvSpPr txBox="1"/>
          <p:nvPr/>
        </p:nvSpPr>
        <p:spPr>
          <a:xfrm>
            <a:off x="112651" y="6422080"/>
            <a:ext cx="21176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www.njeda.gov/nol/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Flowchart: Terminator 8">
            <a:extLst>
              <a:ext uri="{FF2B5EF4-FFF2-40B4-BE49-F238E27FC236}">
                <a16:creationId xmlns:a16="http://schemas.microsoft.com/office/drawing/2014/main" id="{0C7E2047-3D49-A847-5538-FDFD56A345C9}"/>
              </a:ext>
            </a:extLst>
          </p:cNvPr>
          <p:cNvSpPr/>
          <p:nvPr/>
        </p:nvSpPr>
        <p:spPr>
          <a:xfrm>
            <a:off x="645952" y="3531765"/>
            <a:ext cx="3548543" cy="1212116"/>
          </a:xfrm>
          <a:prstGeom prst="flowChartTerminator">
            <a:avLst/>
          </a:prstGeom>
          <a:solidFill>
            <a:srgbClr val="84BE00"/>
          </a:solidFill>
          <a:ln>
            <a:solidFill>
              <a:srgbClr val="84BE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2D7D10-3E25-E413-FAE9-8EDE82AB2342}"/>
              </a:ext>
            </a:extLst>
          </p:cNvPr>
          <p:cNvSpPr txBox="1"/>
          <p:nvPr/>
        </p:nvSpPr>
        <p:spPr>
          <a:xfrm>
            <a:off x="645951" y="3736269"/>
            <a:ext cx="35485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lications open annually 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-June</a:t>
            </a:r>
          </a:p>
        </p:txBody>
      </p:sp>
    </p:spTree>
    <p:extLst>
      <p:ext uri="{BB962C8B-B14F-4D97-AF65-F5344CB8AC3E}">
        <p14:creationId xmlns:p14="http://schemas.microsoft.com/office/powerpoint/2010/main" val="2225291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2CA4D7B-F32A-47CB-7C12-CCD2A05AAB97}"/>
              </a:ext>
            </a:extLst>
          </p:cNvPr>
          <p:cNvSpPr/>
          <p:nvPr/>
        </p:nvSpPr>
        <p:spPr>
          <a:xfrm>
            <a:off x="301229" y="1709203"/>
            <a:ext cx="5500889" cy="365755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88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5B91FD-2BBD-2AFD-B8E6-ED94DE3C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022" y="-61917"/>
            <a:ext cx="10515600" cy="1325563"/>
          </a:xfrm>
        </p:spPr>
        <p:txBody>
          <a:bodyPr>
            <a:normAutofit/>
          </a:bodyPr>
          <a:lstStyle/>
          <a:p>
            <a:r>
              <a:rPr lang="en-US" sz="3840" b="1" dirty="0">
                <a:solidFill>
                  <a:srgbClr val="00597C"/>
                </a:solidFill>
                <a:latin typeface="+mn-lt"/>
              </a:rPr>
              <a:t>NJEDA IMPAC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A9B3F3-EE48-48F4-CEA5-41E631274F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97280" eaLnBrk="0" fontAlgn="base" hangingPunct="0">
              <a:spcBef>
                <a:spcPct val="0"/>
              </a:spcBef>
              <a:spcAft>
                <a:spcPct val="0"/>
              </a:spcAft>
            </a:pPr>
            <a:fld id="{6358EE78-369A-4A83-91BE-CE1CDBA0BAF0}" type="slidenum">
              <a:rPr lang="en-US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pPr defTabSz="1097280" eaLnBrk="0" fontAlgn="base" hangingPunct="0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>
              <a:solidFill>
                <a:srgbClr val="FFFFFF">
                  <a:lumMod val="65000"/>
                </a:srgbClr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4AFAC5A-6497-A7F7-5B82-45E37F217756}"/>
              </a:ext>
            </a:extLst>
          </p:cNvPr>
          <p:cNvSpPr txBox="1"/>
          <p:nvPr/>
        </p:nvSpPr>
        <p:spPr>
          <a:xfrm>
            <a:off x="132328" y="1821514"/>
            <a:ext cx="5419547" cy="3455818"/>
          </a:xfrm>
          <a:prstGeom prst="rect">
            <a:avLst/>
          </a:prstGeom>
          <a:noFill/>
        </p:spPr>
        <p:txBody>
          <a:bodyPr wrap="square" lIns="109728" tIns="54864" rIns="109728" bIns="54864" anchor="t">
            <a:spAutoFit/>
          </a:bodyPr>
          <a:lstStyle/>
          <a:p>
            <a:pPr marL="658368" indent="-548640" defTabSz="1119554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84BE00"/>
              </a:buClr>
              <a:buFont typeface="System Font Regular"/>
              <a:buChar char="►"/>
              <a:tabLst>
                <a:tab pos="1645913" algn="l"/>
              </a:tabLst>
            </a:pPr>
            <a:endParaRPr lang="en-US" sz="1680" dirty="0">
              <a:solidFill>
                <a:srgbClr val="00587B"/>
              </a:solidFill>
              <a:latin typeface="Calibri" panose="020F0502020204030204"/>
              <a:ea typeface="ＭＳ Ｐゴシック" panose="020B0600070205080204" pitchFamily="34" charset="-128"/>
            </a:endParaRPr>
          </a:p>
          <a:p>
            <a:pPr marL="658368" indent="-548640" defTabSz="1119554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84BE00"/>
              </a:buClr>
              <a:buFont typeface="System Font Regular"/>
              <a:buChar char="►"/>
              <a:tabLst>
                <a:tab pos="1645913" algn="l"/>
              </a:tabLst>
            </a:pPr>
            <a:r>
              <a:rPr lang="en-US" sz="1440" dirty="0">
                <a:solidFill>
                  <a:srgbClr val="00587B"/>
                </a:solidFill>
                <a:latin typeface="Calibri" panose="020F0502020204030204"/>
                <a:ea typeface="ＭＳ Ｐゴシック"/>
              </a:rPr>
              <a:t>Cybersecurity software company</a:t>
            </a:r>
            <a:endParaRPr lang="en-US" sz="1440" dirty="0">
              <a:solidFill>
                <a:srgbClr val="00587B"/>
              </a:solidFill>
              <a:latin typeface="Calibri" panose="020F0502020204030204"/>
              <a:ea typeface="ＭＳ Ｐゴシック"/>
              <a:cs typeface="Calibri"/>
            </a:endParaRPr>
          </a:p>
          <a:p>
            <a:pPr marL="658368" indent="-548640" defTabSz="1119554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84BE00"/>
              </a:buClr>
              <a:buFont typeface="System Font Regular"/>
              <a:buChar char="►"/>
              <a:tabLst>
                <a:tab pos="1645913" algn="l"/>
              </a:tabLst>
            </a:pPr>
            <a:r>
              <a:rPr lang="en-US" sz="1440" dirty="0">
                <a:solidFill>
                  <a:srgbClr val="00587B"/>
                </a:solidFill>
                <a:latin typeface="Calibri" panose="020F0502020204030204"/>
                <a:ea typeface="ＭＳ Ｐゴシック"/>
              </a:rPr>
              <a:t>Headquartered in Weehawken</a:t>
            </a:r>
            <a:endParaRPr lang="en-US" sz="1440" dirty="0">
              <a:solidFill>
                <a:srgbClr val="00587B"/>
              </a:solidFill>
              <a:latin typeface="Calibri" panose="020F0502020204030204"/>
              <a:ea typeface="ＭＳ Ｐゴシック"/>
              <a:cs typeface="Calibri"/>
            </a:endParaRPr>
          </a:p>
          <a:p>
            <a:pPr marL="658368" indent="-548640" defTabSz="1119554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84BE00"/>
              </a:buClr>
              <a:buFont typeface="System Font Regular"/>
              <a:buChar char="►"/>
              <a:tabLst>
                <a:tab pos="1645913" algn="l"/>
              </a:tabLst>
            </a:pPr>
            <a:r>
              <a:rPr lang="en-US" sz="1440" dirty="0">
                <a:solidFill>
                  <a:srgbClr val="00587B"/>
                </a:solidFill>
                <a:latin typeface="Calibri" panose="020F0502020204030204"/>
                <a:ea typeface="ＭＳ Ｐゴシック"/>
              </a:rPr>
              <a:t>28 high-skilled &amp; high-paying jobs</a:t>
            </a:r>
            <a:endParaRPr lang="en-US" sz="1440" dirty="0">
              <a:solidFill>
                <a:srgbClr val="00587B"/>
              </a:solidFill>
              <a:latin typeface="Calibri" panose="020F0502020204030204"/>
              <a:ea typeface="ＭＳ Ｐゴシック"/>
              <a:cs typeface="Calibri"/>
            </a:endParaRPr>
          </a:p>
          <a:p>
            <a:pPr marL="658368" indent="-548640" defTabSz="1119554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84BE00"/>
              </a:buClr>
              <a:buFont typeface="System Font Regular"/>
              <a:buChar char="►"/>
              <a:tabLst>
                <a:tab pos="1645913" algn="l"/>
              </a:tabLst>
            </a:pPr>
            <a:r>
              <a:rPr lang="en-US" sz="1440" dirty="0">
                <a:solidFill>
                  <a:srgbClr val="00587B"/>
                </a:solidFill>
                <a:latin typeface="Calibri" panose="020F0502020204030204"/>
                <a:ea typeface="ＭＳ Ｐゴシック"/>
              </a:rPr>
              <a:t>Sameer Malhotra CEO &amp; Founder  “</a:t>
            </a:r>
            <a:r>
              <a:rPr lang="en-US" sz="1440" i="1" dirty="0">
                <a:solidFill>
                  <a:srgbClr val="00587B"/>
                </a:solidFill>
                <a:latin typeface="Calibri" panose="020F0502020204030204"/>
                <a:ea typeface="ＭＳ Ｐゴシック"/>
              </a:rPr>
              <a:t>with tech valuations down and volatile markets, the venture capital industry has seized up…This year, in particular, having access to the program was a fantastic lifeline to us... programs like this are a compelling reason to stay in the Garden State." </a:t>
            </a:r>
            <a:endParaRPr lang="en-US" sz="1440" dirty="0">
              <a:solidFill>
                <a:srgbClr val="00587B"/>
              </a:solidFill>
              <a:latin typeface="Calibri" panose="020F0502020204030204"/>
              <a:ea typeface="ＭＳ Ｐゴシック"/>
            </a:endParaRPr>
          </a:p>
          <a:p>
            <a:pPr marL="109728" defTabSz="1119554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84BE00"/>
              </a:buClr>
              <a:tabLst>
                <a:tab pos="1645913" algn="l"/>
              </a:tabLst>
            </a:pPr>
            <a:r>
              <a:rPr lang="en-US" sz="1440" dirty="0">
                <a:solidFill>
                  <a:srgbClr val="00587B"/>
                </a:solidFill>
                <a:latin typeface="Calibri" panose="020F0502020204030204"/>
                <a:ea typeface="ＭＳ Ｐゴシック"/>
              </a:rPr>
              <a:t>             - Business Insider, June 2023</a:t>
            </a:r>
            <a:endParaRPr lang="en-US" sz="1440" dirty="0">
              <a:solidFill>
                <a:srgbClr val="00587B"/>
              </a:solidFill>
              <a:latin typeface="Calibri" panose="020F0502020204030204"/>
              <a:ea typeface="ＭＳ Ｐゴシック"/>
              <a:cs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C7F0782-0300-DA78-BF9A-1402783B02D0}"/>
              </a:ext>
            </a:extLst>
          </p:cNvPr>
          <p:cNvSpPr txBox="1"/>
          <p:nvPr/>
        </p:nvSpPr>
        <p:spPr>
          <a:xfrm>
            <a:off x="301229" y="1732087"/>
            <a:ext cx="3027532" cy="553998"/>
          </a:xfrm>
          <a:prstGeom prst="rect">
            <a:avLst/>
          </a:prstGeom>
          <a:noFill/>
        </p:spPr>
        <p:txBody>
          <a:bodyPr wrap="square" lIns="109728" tIns="54864" rIns="109728" bIns="54864" rtlCol="0" anchor="t">
            <a:spAutoFit/>
          </a:bodyPr>
          <a:lstStyle/>
          <a:p>
            <a:pPr defTabSz="109728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880" b="1" dirty="0" err="1">
                <a:solidFill>
                  <a:srgbClr val="00587B"/>
                </a:solidFill>
                <a:latin typeface="Calibri" panose="020F0502020204030204"/>
                <a:ea typeface="ＭＳ Ｐゴシック"/>
              </a:rPr>
              <a:t>TrueFort</a:t>
            </a:r>
            <a:r>
              <a:rPr lang="en-US" sz="2880" b="1" dirty="0">
                <a:solidFill>
                  <a:srgbClr val="00587B"/>
                </a:solidFill>
                <a:latin typeface="Calibri" panose="020F0502020204030204"/>
                <a:ea typeface="ＭＳ Ｐゴシック"/>
              </a:rPr>
              <a:t>, Inc.</a:t>
            </a:r>
            <a:endParaRPr lang="en-US" sz="2880" b="1" dirty="0">
              <a:solidFill>
                <a:srgbClr val="00587B"/>
              </a:solidFill>
              <a:latin typeface="Calibri" panose="020F0502020204030204"/>
              <a:ea typeface="ＭＳ Ｐゴシック" panose="020B0600070205080204" pitchFamily="34" charset="-128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4539004-058C-A127-9A2B-B46E96C4602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70" b="19728"/>
          <a:stretch/>
        </p:blipFill>
        <p:spPr>
          <a:xfrm>
            <a:off x="7336108" y="979468"/>
            <a:ext cx="2812766" cy="4879708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A5E6C63-6DB7-224E-0AEC-723A9E1213F8}"/>
              </a:ext>
            </a:extLst>
          </p:cNvPr>
          <p:cNvCxnSpPr>
            <a:cxnSpLocks/>
          </p:cNvCxnSpPr>
          <p:nvPr/>
        </p:nvCxnSpPr>
        <p:spPr>
          <a:xfrm>
            <a:off x="160022" y="979468"/>
            <a:ext cx="11927345" cy="0"/>
          </a:xfrm>
          <a:prstGeom prst="line">
            <a:avLst/>
          </a:prstGeom>
          <a:ln w="19050">
            <a:solidFill>
              <a:srgbClr val="84BE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" name="Triangle 3">
            <a:extLst>
              <a:ext uri="{FF2B5EF4-FFF2-40B4-BE49-F238E27FC236}">
                <a16:creationId xmlns:a16="http://schemas.microsoft.com/office/drawing/2014/main" id="{2A9CD031-266E-90C9-83E7-9C726F2DA0CD}"/>
              </a:ext>
            </a:extLst>
          </p:cNvPr>
          <p:cNvSpPr/>
          <p:nvPr/>
        </p:nvSpPr>
        <p:spPr>
          <a:xfrm rot="16200000">
            <a:off x="8882225" y="-2108045"/>
            <a:ext cx="1201729" cy="5417820"/>
          </a:xfrm>
          <a:prstGeom prst="triangle">
            <a:avLst>
              <a:gd name="adj" fmla="val 100000"/>
            </a:avLst>
          </a:prstGeom>
          <a:solidFill>
            <a:srgbClr val="84BE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04829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3476A23-F9F3-3E55-8A81-A05E05FB21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8404" y="5492387"/>
            <a:ext cx="1648911" cy="10992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846FBDF-2D50-CCC1-B01E-AC81E366E2B5}"/>
              </a:ext>
            </a:extLst>
          </p:cNvPr>
          <p:cNvSpPr txBox="1">
            <a:spLocks/>
          </p:cNvSpPr>
          <p:nvPr/>
        </p:nvSpPr>
        <p:spPr>
          <a:xfrm>
            <a:off x="316176" y="386905"/>
            <a:ext cx="10173556" cy="610884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kern="0" dirty="0">
                <a:solidFill>
                  <a:srgbClr val="00597C"/>
                </a:solidFill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Angel Investor Tax Credi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7E29DFD-D4C0-F461-438A-C559C7E14629}"/>
              </a:ext>
            </a:extLst>
          </p:cNvPr>
          <p:cNvCxnSpPr>
            <a:cxnSpLocks/>
          </p:cNvCxnSpPr>
          <p:nvPr/>
        </p:nvCxnSpPr>
        <p:spPr>
          <a:xfrm>
            <a:off x="410697" y="965723"/>
            <a:ext cx="11245346" cy="0"/>
          </a:xfrm>
          <a:prstGeom prst="line">
            <a:avLst/>
          </a:prstGeom>
          <a:ln w="19050">
            <a:solidFill>
              <a:srgbClr val="84BE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51C63217-5FE6-6863-3E54-CECEDDF8C959}"/>
              </a:ext>
            </a:extLst>
          </p:cNvPr>
          <p:cNvSpPr txBox="1"/>
          <p:nvPr/>
        </p:nvSpPr>
        <p:spPr>
          <a:xfrm>
            <a:off x="200397" y="1121861"/>
            <a:ext cx="11791205" cy="1155183"/>
          </a:xfrm>
          <a:prstGeom prst="snip2Diag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Cambria"/>
                <a:cs typeface="Calibri" panose="020F0502020204030204" pitchFamily="34" charset="0"/>
              </a:rPr>
              <a:t>NJEDA provides refundable tax credits to private investors in eligible NJ technology/biotechnology companies. </a:t>
            </a:r>
            <a:endParaRPr lang="en-US" sz="2000" b="1" i="0" u="none" strike="noStrike" baseline="0" dirty="0">
              <a:solidFill>
                <a:srgbClr val="333333"/>
              </a:solidFill>
              <a:latin typeface="Calibri" panose="020F0502020204030204" pitchFamily="34" charset="0"/>
              <a:ea typeface="Cambria" panose="02040503050406030204" pitchFamily="18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  <a:buClr>
                <a:srgbClr val="84BE00"/>
              </a:buClr>
            </a:pPr>
            <a:endParaRPr lang="en-US" sz="2000" dirty="0">
              <a:latin typeface="Calibri" panose="020F0502020204030204" pitchFamily="34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74FC859-A791-4E8C-BABE-BC9C2858DE08}"/>
              </a:ext>
            </a:extLst>
          </p:cNvPr>
          <p:cNvSpPr txBox="1"/>
          <p:nvPr/>
        </p:nvSpPr>
        <p:spPr>
          <a:xfrm>
            <a:off x="1155804" y="2225908"/>
            <a:ext cx="6783411" cy="32762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20% tax credit; 5% bonus based on diversity/location</a:t>
            </a:r>
          </a:p>
          <a:p>
            <a:pPr marL="285750" indent="-285750" algn="l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Full-time employees (FTE)</a:t>
            </a:r>
          </a:p>
          <a:p>
            <a:pPr marL="742950" lvl="1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at least 1, no more than 225</a:t>
            </a:r>
          </a:p>
          <a:p>
            <a:pPr marL="742950" lvl="1" indent="-285750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75% of all employees working in New Jersey</a:t>
            </a:r>
          </a:p>
          <a:p>
            <a:pPr marL="285750" indent="-285750" algn="l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Must be commercializing an eligible technology</a:t>
            </a:r>
          </a:p>
          <a:p>
            <a:pPr marL="285750" indent="-285750" algn="l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Investment must be a non-refundable transfer of cash</a:t>
            </a:r>
          </a:p>
          <a:p>
            <a:pPr marL="285750" indent="-285750" algn="l">
              <a:lnSpc>
                <a:spcPct val="150000"/>
              </a:lnSpc>
              <a:buClr>
                <a:srgbClr val="84BE00"/>
              </a:buClr>
              <a:buFont typeface="System Font Regular"/>
              <a:buChar char="►"/>
            </a:pPr>
            <a:r>
              <a:rPr lang="en-US" sz="2000" dirty="0">
                <a:latin typeface="Calibri" panose="020F0502020204030204" pitchFamily="34" charset="0"/>
                <a:ea typeface="Cambria" panose="02040503050406030204" pitchFamily="18" charset="0"/>
                <a:cs typeface="Calibri" panose="020F0502020204030204" pitchFamily="34" charset="0"/>
              </a:rPr>
              <a:t>Fully submitted application within 6 months of invest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711368F-DC09-4D74-8845-9D0EABBB43D1}"/>
              </a:ext>
            </a:extLst>
          </p:cNvPr>
          <p:cNvSpPr txBox="1"/>
          <p:nvPr/>
        </p:nvSpPr>
        <p:spPr>
          <a:xfrm>
            <a:off x="112651" y="6422080"/>
            <a:ext cx="314355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www.njeda.gov/angeltaxcredit/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EAB64AFB-4282-6DCA-2311-DBA36D958E71}"/>
              </a:ext>
            </a:extLst>
          </p:cNvPr>
          <p:cNvSpPr/>
          <p:nvPr/>
        </p:nvSpPr>
        <p:spPr>
          <a:xfrm rot="16200000">
            <a:off x="8882225" y="-2108045"/>
            <a:ext cx="1201729" cy="5417820"/>
          </a:xfrm>
          <a:prstGeom prst="triangle">
            <a:avLst>
              <a:gd name="adj" fmla="val 100000"/>
            </a:avLst>
          </a:prstGeom>
          <a:solidFill>
            <a:srgbClr val="84BE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06137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YcVrRtbWaUAvDeXgTBA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418a431-85d9-4a0f-8e60-edc5bb70af11">
      <Terms xmlns="http://schemas.microsoft.com/office/infopath/2007/PartnerControls"/>
    </lcf76f155ced4ddcb4097134ff3c332f>
    <TaxCatchAll xmlns="7e442f8c-2b69-4ac9-9723-b3795c5148a8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89863819DAE2E4A8CE3BF0A95163D5D" ma:contentTypeVersion="14" ma:contentTypeDescription="Create a new document." ma:contentTypeScope="" ma:versionID="7db6c78301c49a93a612108087f37289">
  <xsd:schema xmlns:xsd="http://www.w3.org/2001/XMLSchema" xmlns:xs="http://www.w3.org/2001/XMLSchema" xmlns:p="http://schemas.microsoft.com/office/2006/metadata/properties" xmlns:ns2="1418a431-85d9-4a0f-8e60-edc5bb70af11" xmlns:ns3="7e442f8c-2b69-4ac9-9723-b3795c5148a8" targetNamespace="http://schemas.microsoft.com/office/2006/metadata/properties" ma:root="true" ma:fieldsID="74ed3908a41a1b470d16235775fe1333" ns2:_="" ns3:_="">
    <xsd:import namespace="1418a431-85d9-4a0f-8e60-edc5bb70af11"/>
    <xsd:import namespace="7e442f8c-2b69-4ac9-9723-b3795c5148a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18a431-85d9-4a0f-8e60-edc5bb70af1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143866a5-a1f1-4687-bbc9-01e29c03519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442f8c-2b69-4ac9-9723-b3795c5148a8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cd054935-6ecd-49d3-ba11-b0d4dddecb41}" ma:internalName="TaxCatchAll" ma:showField="CatchAllData" ma:web="7e442f8c-2b69-4ac9-9723-b3795c5148a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8E57195-4AF8-41D1-ACB6-B40E2A5F17AF}">
  <ds:schemaRefs>
    <ds:schemaRef ds:uri="1418a431-85d9-4a0f-8e60-edc5bb70af11"/>
    <ds:schemaRef ds:uri="http://schemas.microsoft.com/office/2006/documentManagement/types"/>
    <ds:schemaRef ds:uri="http://purl.org/dc/terms/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www.w3.org/XML/1998/namespace"/>
    <ds:schemaRef ds:uri="http://schemas.microsoft.com/office/infopath/2007/PartnerControls"/>
    <ds:schemaRef ds:uri="7e442f8c-2b69-4ac9-9723-b3795c5148a8"/>
  </ds:schemaRefs>
</ds:datastoreItem>
</file>

<file path=customXml/itemProps2.xml><?xml version="1.0" encoding="utf-8"?>
<ds:datastoreItem xmlns:ds="http://schemas.openxmlformats.org/officeDocument/2006/customXml" ds:itemID="{2003DFFB-D555-40DD-97CC-48DA8981C584}">
  <ds:schemaRefs>
    <ds:schemaRef ds:uri="1418a431-85d9-4a0f-8e60-edc5bb70af11"/>
    <ds:schemaRef ds:uri="7e442f8c-2b69-4ac9-9723-b3795c5148a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78FF448-FFCB-44A6-A222-3CEA2FD8748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279</TotalTime>
  <Words>1060</Words>
  <Application>Microsoft Office PowerPoint</Application>
  <PresentationFormat>Widescreen</PresentationFormat>
  <Paragraphs>157</Paragraphs>
  <Slides>1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rial</vt:lpstr>
      <vt:lpstr>Calibri</vt:lpstr>
      <vt:lpstr>Calibri body</vt:lpstr>
      <vt:lpstr>Calibri Light</vt:lpstr>
      <vt:lpstr>Cambria</vt:lpstr>
      <vt:lpstr>Roboto</vt:lpstr>
      <vt:lpstr>Segoe UI Light</vt:lpstr>
      <vt:lpstr>System Font Regular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ngel Match Companies</vt:lpstr>
      <vt:lpstr>PowerPoint Presentation</vt:lpstr>
      <vt:lpstr>NJEDA IMPAC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a Diaz</dc:creator>
  <cp:lastModifiedBy>Daniela Diaz</cp:lastModifiedBy>
  <cp:revision>59</cp:revision>
  <dcterms:created xsi:type="dcterms:W3CDTF">2024-07-31T17:02:13Z</dcterms:created>
  <dcterms:modified xsi:type="dcterms:W3CDTF">2024-10-18T19:06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9863819DAE2E4A8CE3BF0A95163D5D</vt:lpwstr>
  </property>
  <property fmtid="{D5CDD505-2E9C-101B-9397-08002B2CF9AE}" pid="3" name="MediaServiceImageTags">
    <vt:lpwstr/>
  </property>
</Properties>
</file>